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5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6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7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8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0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1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3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4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5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7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8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9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20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21.xml" ContentType="application/vnd.openxmlformats-officedocument.theme+xml"/>
  <Override PartName="/ppt/tags/tag37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22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23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24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25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26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27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28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29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30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31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32.xml" ContentType="application/vnd.openxmlformats-officedocument.theme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33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34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35.xml" ContentType="application/vnd.openxmlformats-officedocument.theme+xml"/>
  <Override PartName="/ppt/tags/tag73.xml" ContentType="application/vnd.openxmlformats-officedocument.presentationml.tags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36.xml" ContentType="application/vnd.openxmlformats-officedocument.theme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37.xml" ContentType="application/vnd.openxmlformats-officedocument.theme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38.xml" ContentType="application/vnd.openxmlformats-officedocument.theme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39.xml" ContentType="application/vnd.openxmlformats-officedocument.theme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40.xml" ContentType="application/vnd.openxmlformats-officedocument.theme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41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42.xml" ContentType="application/vnd.openxmlformats-officedocument.theme+xml"/>
  <Override PartName="/ppt/theme/theme4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79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1"/>
    <p:sldMasterId id="2147483976" r:id="rId2"/>
    <p:sldMasterId id="2147483997" r:id="rId3"/>
    <p:sldMasterId id="2147484018" r:id="rId4"/>
    <p:sldMasterId id="2147484026" r:id="rId5"/>
    <p:sldMasterId id="2147484033" r:id="rId6"/>
    <p:sldMasterId id="2147484037" r:id="rId7"/>
    <p:sldMasterId id="2147484042" r:id="rId8"/>
    <p:sldMasterId id="2147484050" r:id="rId9"/>
    <p:sldMasterId id="2147484059" r:id="rId10"/>
    <p:sldMasterId id="2147484064" r:id="rId11"/>
    <p:sldMasterId id="2147484070" r:id="rId12"/>
    <p:sldMasterId id="2147484078" r:id="rId13"/>
    <p:sldMasterId id="2147484083" r:id="rId14"/>
    <p:sldMasterId id="2147484087" r:id="rId15"/>
    <p:sldMasterId id="2147484091" r:id="rId16"/>
    <p:sldMasterId id="2147484097" r:id="rId17"/>
    <p:sldMasterId id="2147484103" r:id="rId18"/>
    <p:sldMasterId id="2147484108" r:id="rId19"/>
    <p:sldMasterId id="2147484115" r:id="rId20"/>
    <p:sldMasterId id="2147484123" r:id="rId21"/>
    <p:sldMasterId id="2147484130" r:id="rId22"/>
    <p:sldMasterId id="2147484138" r:id="rId23"/>
    <p:sldMasterId id="2147484142" r:id="rId24"/>
    <p:sldMasterId id="2147484150" r:id="rId25"/>
    <p:sldMasterId id="2147484158" r:id="rId26"/>
    <p:sldMasterId id="2147484166" r:id="rId27"/>
    <p:sldMasterId id="2147484174" r:id="rId28"/>
    <p:sldMasterId id="2147484182" r:id="rId29"/>
    <p:sldMasterId id="2147484187" r:id="rId30"/>
    <p:sldMasterId id="2147484194" r:id="rId31"/>
    <p:sldMasterId id="2147484203" r:id="rId32"/>
    <p:sldMasterId id="2147484208" r:id="rId33"/>
    <p:sldMasterId id="2147484212" r:id="rId34"/>
    <p:sldMasterId id="2147484218" r:id="rId35"/>
    <p:sldMasterId id="2147484233" r:id="rId36"/>
    <p:sldMasterId id="2147484238" r:id="rId37"/>
    <p:sldMasterId id="2147484243" r:id="rId38"/>
    <p:sldMasterId id="2147484248" r:id="rId39"/>
    <p:sldMasterId id="2147484253" r:id="rId40"/>
    <p:sldMasterId id="2147484260" r:id="rId41"/>
  </p:sldMasterIdLst>
  <p:notesMasterIdLst>
    <p:notesMasterId r:id="rId56"/>
  </p:notesMasterIdLst>
  <p:handoutMasterIdLst>
    <p:handoutMasterId r:id="rId57"/>
  </p:handoutMasterIdLst>
  <p:sldIdLst>
    <p:sldId id="445" r:id="rId42"/>
    <p:sldId id="699" r:id="rId43"/>
    <p:sldId id="666" r:id="rId44"/>
    <p:sldId id="692" r:id="rId45"/>
    <p:sldId id="680" r:id="rId46"/>
    <p:sldId id="697" r:id="rId47"/>
    <p:sldId id="698" r:id="rId48"/>
    <p:sldId id="693" r:id="rId49"/>
    <p:sldId id="694" r:id="rId50"/>
    <p:sldId id="695" r:id="rId51"/>
    <p:sldId id="696" r:id="rId52"/>
    <p:sldId id="679" r:id="rId53"/>
    <p:sldId id="685" r:id="rId54"/>
    <p:sldId id="682" r:id="rId55"/>
  </p:sldIdLst>
  <p:sldSz cx="9144000" cy="5143500" type="screen16x9"/>
  <p:notesSz cx="6858000" cy="9144000"/>
  <p:defaultTextStyle>
    <a:defPPr>
      <a:defRPr lang="en-US"/>
    </a:defPPr>
    <a:lvl1pPr marL="0" algn="l" defTabSz="4569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986" algn="l" defTabSz="4569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995" algn="l" defTabSz="4569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988" algn="l" defTabSz="4569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989" algn="l" defTabSz="4569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974" algn="l" defTabSz="4569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960" algn="l" defTabSz="4569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960" algn="l" defTabSz="4569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5954" algn="l" defTabSz="45698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5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06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611">
          <p15:clr>
            <a:srgbClr val="A4A3A4"/>
          </p15:clr>
        </p15:guide>
        <p15:guide id="29" pos="540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8D27"/>
    <a:srgbClr val="CCFF33"/>
    <a:srgbClr val="A02BFF"/>
    <a:srgbClr val="EA288C"/>
    <a:srgbClr val="FF6D00"/>
    <a:srgbClr val="FFFF00"/>
    <a:srgbClr val="00D318"/>
    <a:srgbClr val="00CEFF"/>
    <a:srgbClr val="4D4D4D"/>
    <a:srgbClr val="4D4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500" autoAdjust="0"/>
    <p:restoredTop sz="98757" autoAdjust="0"/>
  </p:normalViewPr>
  <p:slideViewPr>
    <p:cSldViewPr snapToGrid="0" snapToObjects="1">
      <p:cViewPr>
        <p:scale>
          <a:sx n="80" d="100"/>
          <a:sy n="80" d="100"/>
        </p:scale>
        <p:origin x="96" y="336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5"/>
        <p:guide pos="364"/>
        <p:guide pos="1157"/>
        <p:guide pos="1213"/>
        <p:guide pos="2007"/>
        <p:guide pos="2061"/>
        <p:guide pos="2858"/>
        <p:guide pos="2912"/>
        <p:guide pos="3706"/>
        <p:guide pos="3761"/>
        <p:guide pos="4611"/>
        <p:guide pos="540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" Target="slides/slide1.xml"/><Relationship Id="rId47" Type="http://schemas.openxmlformats.org/officeDocument/2006/relationships/slide" Target="slides/slide6.xml"/><Relationship Id="rId50" Type="http://schemas.openxmlformats.org/officeDocument/2006/relationships/slide" Target="slides/slide9.xml"/><Relationship Id="rId55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" Target="slides/slide4.xml"/><Relationship Id="rId53" Type="http://schemas.openxmlformats.org/officeDocument/2006/relationships/slide" Target="slides/slide12.xml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8.xml"/><Relationship Id="rId57" Type="http://schemas.openxmlformats.org/officeDocument/2006/relationships/handoutMaster" Target="handoutMasters/handoutMaster1.xml"/><Relationship Id="rId61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3.xml"/><Relationship Id="rId52" Type="http://schemas.openxmlformats.org/officeDocument/2006/relationships/slide" Target="slides/slide11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" Target="slides/slide2.xml"/><Relationship Id="rId48" Type="http://schemas.openxmlformats.org/officeDocument/2006/relationships/slide" Target="slides/slide7.xml"/><Relationship Id="rId56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10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" Target="slides/slide5.xml"/><Relationship Id="rId5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OI369655\Desktop\peso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INSTALAÇÃO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5</c:f>
              <c:strCache>
                <c:ptCount val="4"/>
                <c:pt idx="0">
                  <c:v>2014 </c:v>
                </c:pt>
                <c:pt idx="1">
                  <c:v>2015 </c:v>
                </c:pt>
                <c:pt idx="2">
                  <c:v>2016 </c:v>
                </c:pt>
                <c:pt idx="3">
                  <c:v>2017*</c:v>
                </c:pt>
              </c:strCache>
            </c:strRef>
          </c:cat>
          <c:val>
            <c:numRef>
              <c:f>Plan1!$B$2:$B$15</c:f>
              <c:numCache>
                <c:formatCode>#,##0</c:formatCode>
                <c:ptCount val="4"/>
                <c:pt idx="0">
                  <c:v>24.216594913086386</c:v>
                </c:pt>
                <c:pt idx="1">
                  <c:v>12.762374313598396</c:v>
                </c:pt>
                <c:pt idx="2">
                  <c:v>16.222630194327341</c:v>
                </c:pt>
                <c:pt idx="3">
                  <c:v>15.364525803546135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USO</c:v>
                </c:pt>
              </c:strCache>
            </c:strRef>
          </c:tx>
          <c:spPr>
            <a:pattFill prst="ltUpDiag">
              <a:fgClr>
                <a:schemeClr val="bg1">
                  <a:lumMod val="75000"/>
                </a:schemeClr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5</c:f>
              <c:strCache>
                <c:ptCount val="4"/>
                <c:pt idx="0">
                  <c:v>2014 </c:v>
                </c:pt>
                <c:pt idx="1">
                  <c:v>2015 </c:v>
                </c:pt>
                <c:pt idx="2">
                  <c:v>2016 </c:v>
                </c:pt>
                <c:pt idx="3">
                  <c:v>2017*</c:v>
                </c:pt>
              </c:strCache>
            </c:strRef>
          </c:cat>
          <c:val>
            <c:numRef>
              <c:f>Plan1!$C$2:$C$15</c:f>
              <c:numCache>
                <c:formatCode>#,##0</c:formatCode>
                <c:ptCount val="4"/>
                <c:pt idx="0">
                  <c:v>73.435317224126635</c:v>
                </c:pt>
                <c:pt idx="1">
                  <c:v>24.730343030545001</c:v>
                </c:pt>
                <c:pt idx="2">
                  <c:v>14.991672864137502</c:v>
                </c:pt>
                <c:pt idx="3">
                  <c:v>12.908347675900169</c:v>
                </c:pt>
              </c:numCache>
            </c:numRef>
          </c:val>
        </c:ser>
        <c:ser>
          <c:idx val="2"/>
          <c:order val="2"/>
          <c:tx>
            <c:strRef>
              <c:f>Plan1!$D$1</c:f>
              <c:strCache>
                <c:ptCount val="1"/>
                <c:pt idx="0">
                  <c:v>SMS</c:v>
                </c:pt>
              </c:strCache>
            </c:strRef>
          </c:tx>
          <c:spPr>
            <a:solidFill>
              <a:srgbClr val="002060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5</c:f>
              <c:strCache>
                <c:ptCount val="4"/>
                <c:pt idx="0">
                  <c:v>2014 </c:v>
                </c:pt>
                <c:pt idx="1">
                  <c:v>2015 </c:v>
                </c:pt>
                <c:pt idx="2">
                  <c:v>2016 </c:v>
                </c:pt>
                <c:pt idx="3">
                  <c:v>2017*</c:v>
                </c:pt>
              </c:strCache>
            </c:strRef>
          </c:cat>
          <c:val>
            <c:numRef>
              <c:f>Plan1!$D$2:$D$15</c:f>
              <c:numCache>
                <c:formatCode>#,##0</c:formatCode>
                <c:ptCount val="4"/>
                <c:pt idx="0">
                  <c:v>53.439841228999995</c:v>
                </c:pt>
                <c:pt idx="1">
                  <c:v>24.699468103566247</c:v>
                </c:pt>
                <c:pt idx="2">
                  <c:v>22.922594203570721</c:v>
                </c:pt>
                <c:pt idx="3">
                  <c:v>5.1201720047999766</c:v>
                </c:pt>
              </c:numCache>
            </c:numRef>
          </c:val>
        </c:ser>
        <c:ser>
          <c:idx val="3"/>
          <c:order val="3"/>
          <c:tx>
            <c:strRef>
              <c:f>Plan1!$E$1</c:f>
              <c:strCache>
                <c:ptCount val="1"/>
                <c:pt idx="0">
                  <c:v>ATEND/ ODCs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5</c:f>
              <c:strCache>
                <c:ptCount val="4"/>
                <c:pt idx="0">
                  <c:v>2014 </c:v>
                </c:pt>
                <c:pt idx="1">
                  <c:v>2015 </c:v>
                </c:pt>
                <c:pt idx="2">
                  <c:v>2016 </c:v>
                </c:pt>
                <c:pt idx="3">
                  <c:v>2017*</c:v>
                </c:pt>
              </c:strCache>
            </c:strRef>
          </c:cat>
          <c:val>
            <c:numRef>
              <c:f>Plan1!$E$2:$E$15</c:f>
              <c:numCache>
                <c:formatCode>#,##0</c:formatCode>
                <c:ptCount val="4"/>
                <c:pt idx="0">
                  <c:v>48.579718999999997</c:v>
                </c:pt>
                <c:pt idx="1">
                  <c:v>63.226723999999997</c:v>
                </c:pt>
                <c:pt idx="2">
                  <c:v>33.741890959999999</c:v>
                </c:pt>
                <c:pt idx="3">
                  <c:v>20.40152073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55873952"/>
        <c:axId val="455874344"/>
      </c:barChart>
      <c:lineChart>
        <c:grouping val="standard"/>
        <c:varyColors val="0"/>
        <c:ser>
          <c:idx val="4"/>
          <c:order val="4"/>
          <c:tx>
            <c:strRef>
              <c:f>Plan1!$F$1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7.7541296611919844E-2"/>
                  <c:y val="-0.2325661964860183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-4.1765102143125704E-2"/>
                  <c:y val="-0.143385469719548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implon BP Regular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5</c:f>
              <c:strCache>
                <c:ptCount val="4"/>
                <c:pt idx="0">
                  <c:v>2014 </c:v>
                </c:pt>
                <c:pt idx="1">
                  <c:v>2015 </c:v>
                </c:pt>
                <c:pt idx="2">
                  <c:v>2016 </c:v>
                </c:pt>
                <c:pt idx="3">
                  <c:v>2017*</c:v>
                </c:pt>
              </c:strCache>
            </c:strRef>
          </c:cat>
          <c:val>
            <c:numRef>
              <c:f>Plan1!$F$2:$F$5</c:f>
              <c:numCache>
                <c:formatCode>#,##0</c:formatCode>
                <c:ptCount val="4"/>
                <c:pt idx="0">
                  <c:v>198.62978853098431</c:v>
                </c:pt>
                <c:pt idx="1">
                  <c:v>125.41890944770965</c:v>
                </c:pt>
                <c:pt idx="2">
                  <c:v>87.878788222035553</c:v>
                </c:pt>
                <c:pt idx="3">
                  <c:v>53.794566224246282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Plan1!$F$1</c:f>
              <c:strCache>
                <c:ptCount val="1"/>
                <c:pt idx="0">
                  <c:v>TOTAL</c:v>
                </c:pt>
              </c:strCache>
            </c:strRef>
          </c:tx>
          <c:spPr>
            <a:ln w="19050">
              <a:noFill/>
            </a:ln>
          </c:spPr>
          <c:marker>
            <c:symbol val="none"/>
          </c:marker>
          <c:dLbls>
            <c:dLbl>
              <c:idx val="12"/>
              <c:layout>
                <c:manualLayout>
                  <c:x val="-3.6475957722354513E-2"/>
                  <c:y val="-9.51673471589924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A$2:$A$5</c:f>
              <c:strCache>
                <c:ptCount val="4"/>
                <c:pt idx="0">
                  <c:v>2014 </c:v>
                </c:pt>
                <c:pt idx="1">
                  <c:v>2015 </c:v>
                </c:pt>
                <c:pt idx="2">
                  <c:v>2016 </c:v>
                </c:pt>
                <c:pt idx="3">
                  <c:v>2017*</c:v>
                </c:pt>
              </c:strCache>
            </c:strRef>
          </c:cat>
          <c:val>
            <c:numRef>
              <c:f>Plan1!$F$3:$F$15</c:f>
              <c:numCache>
                <c:formatCode>#,##0</c:formatCode>
                <c:ptCount val="3"/>
                <c:pt idx="0">
                  <c:v>125.41890944770965</c:v>
                </c:pt>
                <c:pt idx="1">
                  <c:v>87.878788222035553</c:v>
                </c:pt>
                <c:pt idx="2">
                  <c:v>53.79456622424628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5873952"/>
        <c:axId val="455874344"/>
      </c:lineChart>
      <c:catAx>
        <c:axId val="455873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55874344"/>
        <c:crosses val="autoZero"/>
        <c:auto val="1"/>
        <c:lblAlgn val="ctr"/>
        <c:lblOffset val="100"/>
        <c:tickLblSkip val="1"/>
        <c:noMultiLvlLbl val="0"/>
      </c:catAx>
      <c:valAx>
        <c:axId val="455874344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455873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4"/>
        <c:delete val="1"/>
      </c:legendEntry>
      <c:legendEntry>
        <c:idx val="5"/>
        <c:delete val="1"/>
      </c:legendEntry>
      <c:layout>
        <c:manualLayout>
          <c:xMode val="edge"/>
          <c:yMode val="edge"/>
          <c:x val="4.8116769322456366E-3"/>
          <c:y val="0.78667507564070116"/>
          <c:w val="0.95773829853778769"/>
          <c:h val="0.21332492435929887"/>
        </c:manualLayout>
      </c:layout>
      <c:overlay val="0"/>
      <c:txPr>
        <a:bodyPr/>
        <a:lstStyle/>
        <a:p>
          <a:pPr>
            <a:defRPr sz="1100"/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Simplon BP Regular" pitchFamily="2" charset="0"/>
        </a:defRPr>
      </a:pPr>
      <a:endParaRPr lang="pt-BR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281407809003512"/>
          <c:y val="9.6090195466429329E-2"/>
          <c:w val="0.41230887485997803"/>
          <c:h val="0.63582663604907863"/>
        </c:manualLayout>
      </c:layout>
      <c:doughnutChart>
        <c:varyColors val="1"/>
        <c:ser>
          <c:idx val="0"/>
          <c:order val="0"/>
          <c:tx>
            <c:strRef>
              <c:f>Plan1!$C$2</c:f>
              <c:strCache>
                <c:ptCount val="1"/>
                <c:pt idx="0">
                  <c:v>Peso (%)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1"/>
            <c:bubble3D val="0"/>
            <c:spPr>
              <a:solidFill>
                <a:schemeClr val="accent3"/>
              </a:solidFill>
            </c:spPr>
          </c:dPt>
          <c:dPt>
            <c:idx val="2"/>
            <c:bubble3D val="0"/>
            <c:spPr>
              <a:solidFill>
                <a:srgbClr val="E82CA9"/>
              </a:solidFill>
            </c:spPr>
          </c:dPt>
          <c:dPt>
            <c:idx val="3"/>
            <c:bubble3D val="0"/>
            <c:spPr>
              <a:solidFill>
                <a:schemeClr val="accent4">
                  <a:lumMod val="75000"/>
                </a:schemeClr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200" b="1" dirty="0">
                        <a:solidFill>
                          <a:schemeClr val="bg1"/>
                        </a:solidFill>
                      </a:rPr>
                      <a:t>2</a:t>
                    </a:r>
                    <a:r>
                      <a:rPr lang="en-US" sz="1200" b="1" dirty="0" smtClean="0">
                        <a:solidFill>
                          <a:schemeClr val="bg1"/>
                        </a:solidFill>
                      </a:rPr>
                      <a:t>5</a:t>
                    </a:r>
                    <a:r>
                      <a:rPr lang="en-US" sz="1200" b="1" dirty="0">
                        <a:solidFill>
                          <a:schemeClr val="bg1"/>
                        </a:solidFill>
                      </a:rPr>
                      <a:t>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 b="1" dirty="0" smtClean="0">
                        <a:solidFill>
                          <a:schemeClr val="bg1"/>
                        </a:solidFill>
                      </a:rPr>
                      <a:t>20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1200" b="1" dirty="0" smtClean="0">
                        <a:solidFill>
                          <a:schemeClr val="bg1"/>
                        </a:solidFill>
                      </a:rPr>
                      <a:t>30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20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B$3:$B$7</c:f>
              <c:strCache>
                <c:ptCount val="5"/>
                <c:pt idx="0">
                  <c:v>Custos</c:v>
                </c:pt>
                <c:pt idx="1">
                  <c:v>Funcional</c:v>
                </c:pt>
                <c:pt idx="2">
                  <c:v>Inovação</c:v>
                </c:pt>
                <c:pt idx="3">
                  <c:v>Redução de perdas</c:v>
                </c:pt>
                <c:pt idx="4">
                  <c:v>Técnico</c:v>
                </c:pt>
              </c:strCache>
            </c:strRef>
          </c:cat>
          <c:val>
            <c:numRef>
              <c:f>Plan1!$C$3:$C$7</c:f>
              <c:numCache>
                <c:formatCode>General</c:formatCode>
                <c:ptCount val="5"/>
                <c:pt idx="0">
                  <c:v>15</c:v>
                </c:pt>
                <c:pt idx="1">
                  <c:v>25</c:v>
                </c:pt>
                <c:pt idx="2">
                  <c:v>5</c:v>
                </c:pt>
                <c:pt idx="3">
                  <c:v>35</c:v>
                </c:pt>
                <c:pt idx="4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b"/>
      <c:layout>
        <c:manualLayout>
          <c:xMode val="edge"/>
          <c:yMode val="edge"/>
          <c:x val="0.14192950299016793"/>
          <c:y val="0.89481495806280531"/>
          <c:w val="0.71201489366125981"/>
          <c:h val="5.4283761113675937E-2"/>
        </c:manualLayout>
      </c:layout>
      <c:overlay val="0"/>
    </c:legend>
    <c:plotVisOnly val="1"/>
    <c:dispBlanksAs val="gap"/>
    <c:showDLblsOverMax val="0"/>
  </c:chart>
  <c:spPr>
    <a:ln w="3175" cap="sq"/>
  </c:sp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C6F170-DBFB-4F33-B79F-F034828189B6}" type="doc">
      <dgm:prSet loTypeId="urn:microsoft.com/office/officeart/2009/3/layout/Pie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8FAFE053-FC0C-4A46-9E52-BED9B8D455E7}">
      <dgm:prSet phldrT="[Texto]" custT="1"/>
      <dgm:spPr/>
      <dgm:t>
        <a:bodyPr/>
        <a:lstStyle/>
        <a:p>
          <a:r>
            <a:rPr lang="pt-BR" sz="2400" dirty="0" smtClean="0"/>
            <a:t>60 dias</a:t>
          </a:r>
          <a:endParaRPr lang="pt-BR" sz="2400" dirty="0"/>
        </a:p>
      </dgm:t>
    </dgm:pt>
    <dgm:pt modelId="{1AEFD4C9-AEE3-4D65-BA63-3DF4D943A2D3}" type="parTrans" cxnId="{E90E71F3-A0C9-4F22-8096-79D3F7CC3F17}">
      <dgm:prSet/>
      <dgm:spPr/>
      <dgm:t>
        <a:bodyPr/>
        <a:lstStyle/>
        <a:p>
          <a:endParaRPr lang="pt-BR"/>
        </a:p>
      </dgm:t>
    </dgm:pt>
    <dgm:pt modelId="{9CF6D168-7573-4DE8-89AF-2E59DD550400}" type="sibTrans" cxnId="{E90E71F3-A0C9-4F22-8096-79D3F7CC3F17}">
      <dgm:prSet/>
      <dgm:spPr/>
      <dgm:t>
        <a:bodyPr/>
        <a:lstStyle/>
        <a:p>
          <a:endParaRPr lang="pt-BR"/>
        </a:p>
      </dgm:t>
    </dgm:pt>
    <dgm:pt modelId="{B28BED29-992C-42A4-82F4-D81AA3698E81}">
      <dgm:prSet phldrT="[Texto]"/>
      <dgm:spPr/>
      <dgm:t>
        <a:bodyPr/>
        <a:lstStyle/>
        <a:p>
          <a:r>
            <a:rPr lang="pt-BR" sz="1900" dirty="0" smtClean="0"/>
            <a:t>Venda OFF </a:t>
          </a:r>
          <a:r>
            <a:rPr lang="pt-BR" sz="1900" dirty="0" err="1" smtClean="0"/>
            <a:t>Line</a:t>
          </a:r>
          <a:r>
            <a:rPr lang="pt-BR" sz="1900" dirty="0" smtClean="0"/>
            <a:t> TV e Fixa R2</a:t>
          </a:r>
          <a:endParaRPr lang="pt-BR" sz="1900" dirty="0"/>
        </a:p>
      </dgm:t>
    </dgm:pt>
    <dgm:pt modelId="{F07B2647-E857-4F3A-BB1A-88B4C607C9C8}" type="parTrans" cxnId="{DDE09AC0-FBF9-45F2-93F2-0713E568D204}">
      <dgm:prSet/>
      <dgm:spPr/>
      <dgm:t>
        <a:bodyPr/>
        <a:lstStyle/>
        <a:p>
          <a:endParaRPr lang="pt-BR"/>
        </a:p>
      </dgm:t>
    </dgm:pt>
    <dgm:pt modelId="{59B584B5-43B6-4313-9D56-20593998B76A}" type="sibTrans" cxnId="{DDE09AC0-FBF9-45F2-93F2-0713E568D204}">
      <dgm:prSet/>
      <dgm:spPr/>
      <dgm:t>
        <a:bodyPr/>
        <a:lstStyle/>
        <a:p>
          <a:endParaRPr lang="pt-BR"/>
        </a:p>
      </dgm:t>
    </dgm:pt>
    <dgm:pt modelId="{3F589A5D-3556-40EE-8A96-181A10CAC4C3}">
      <dgm:prSet phldrT="[Texto]" custT="1"/>
      <dgm:spPr/>
      <dgm:t>
        <a:bodyPr/>
        <a:lstStyle/>
        <a:p>
          <a:r>
            <a:rPr lang="pt-BR" sz="2400" dirty="0" smtClean="0"/>
            <a:t>40</a:t>
          </a:r>
          <a:r>
            <a:rPr lang="pt-BR" sz="2400" baseline="0" dirty="0" smtClean="0"/>
            <a:t> dias</a:t>
          </a:r>
          <a:endParaRPr lang="pt-BR" sz="2400" dirty="0"/>
        </a:p>
      </dgm:t>
    </dgm:pt>
    <dgm:pt modelId="{35887F9B-2F4A-4529-AFA1-21B15CC1623D}" type="parTrans" cxnId="{F796E42F-524C-4E2D-9D9F-25EF52EEC852}">
      <dgm:prSet/>
      <dgm:spPr/>
      <dgm:t>
        <a:bodyPr/>
        <a:lstStyle/>
        <a:p>
          <a:endParaRPr lang="pt-BR"/>
        </a:p>
      </dgm:t>
    </dgm:pt>
    <dgm:pt modelId="{0D7DACC3-5676-466C-80D0-B97BA252D2D8}" type="sibTrans" cxnId="{F796E42F-524C-4E2D-9D9F-25EF52EEC852}">
      <dgm:prSet/>
      <dgm:spPr/>
      <dgm:t>
        <a:bodyPr/>
        <a:lstStyle/>
        <a:p>
          <a:endParaRPr lang="pt-BR"/>
        </a:p>
      </dgm:t>
    </dgm:pt>
    <dgm:pt modelId="{DCEAB9D1-704E-4173-915D-04B4B83591CE}">
      <dgm:prSet phldrT="[Texto]"/>
      <dgm:spPr/>
      <dgm:t>
        <a:bodyPr/>
        <a:lstStyle/>
        <a:p>
          <a:r>
            <a:rPr lang="pt-BR" sz="1900" dirty="0" smtClean="0"/>
            <a:t>TV ON-LINE</a:t>
          </a:r>
          <a:endParaRPr lang="pt-BR" sz="1900" dirty="0"/>
        </a:p>
      </dgm:t>
    </dgm:pt>
    <dgm:pt modelId="{1B3128EB-FC82-483F-AB68-51459EC64EF0}" type="parTrans" cxnId="{F57E3D36-EC5E-44FC-86D2-0A551E656C90}">
      <dgm:prSet/>
      <dgm:spPr/>
      <dgm:t>
        <a:bodyPr/>
        <a:lstStyle/>
        <a:p>
          <a:endParaRPr lang="pt-BR"/>
        </a:p>
      </dgm:t>
    </dgm:pt>
    <dgm:pt modelId="{911E6C31-C804-4641-A2FB-F403F737325D}" type="sibTrans" cxnId="{F57E3D36-EC5E-44FC-86D2-0A551E656C90}">
      <dgm:prSet/>
      <dgm:spPr/>
      <dgm:t>
        <a:bodyPr/>
        <a:lstStyle/>
        <a:p>
          <a:endParaRPr lang="pt-BR"/>
        </a:p>
      </dgm:t>
    </dgm:pt>
    <dgm:pt modelId="{ADD95561-BA3E-487F-AC50-38621C480D68}">
      <dgm:prSet phldrT="[Texto]" custT="1"/>
      <dgm:spPr/>
      <dgm:t>
        <a:bodyPr/>
        <a:lstStyle/>
        <a:p>
          <a:r>
            <a:rPr lang="pt-BR" sz="2400" dirty="0" smtClean="0"/>
            <a:t>100 dias</a:t>
          </a:r>
        </a:p>
      </dgm:t>
    </dgm:pt>
    <dgm:pt modelId="{EBBA3C6D-5699-4729-8900-C49A33AF5303}" type="parTrans" cxnId="{33BA5587-2532-4871-836F-32C5A66C4B7E}">
      <dgm:prSet/>
      <dgm:spPr/>
      <dgm:t>
        <a:bodyPr/>
        <a:lstStyle/>
        <a:p>
          <a:endParaRPr lang="pt-BR"/>
        </a:p>
      </dgm:t>
    </dgm:pt>
    <dgm:pt modelId="{9C5F35CF-02E6-432A-ADB5-A0EA5E80556C}" type="sibTrans" cxnId="{33BA5587-2532-4871-836F-32C5A66C4B7E}">
      <dgm:prSet/>
      <dgm:spPr/>
      <dgm:t>
        <a:bodyPr/>
        <a:lstStyle/>
        <a:p>
          <a:endParaRPr lang="pt-BR"/>
        </a:p>
      </dgm:t>
    </dgm:pt>
    <dgm:pt modelId="{6AE4115B-6E27-4E83-8398-7ED71F73CB7C}">
      <dgm:prSet phldrT="[Texto]" custT="1"/>
      <dgm:spPr/>
      <dgm:t>
        <a:bodyPr/>
        <a:lstStyle/>
        <a:p>
          <a:r>
            <a:rPr lang="pt-BR" sz="1200" dirty="0" smtClean="0"/>
            <a:t>- Aprendizado da Ferramenta</a:t>
          </a:r>
          <a:endParaRPr lang="pt-BR" sz="1200" dirty="0"/>
        </a:p>
      </dgm:t>
    </dgm:pt>
    <dgm:pt modelId="{72A91A64-386D-49E8-9AC5-CE5BC7B2E49B}" type="parTrans" cxnId="{49286359-64D3-4EB5-9424-5E9DFE2F44D4}">
      <dgm:prSet/>
      <dgm:spPr/>
      <dgm:t>
        <a:bodyPr/>
        <a:lstStyle/>
        <a:p>
          <a:endParaRPr lang="pt-BR"/>
        </a:p>
      </dgm:t>
    </dgm:pt>
    <dgm:pt modelId="{58477A67-6F96-4512-BCD0-D71DEA89D7CA}" type="sibTrans" cxnId="{49286359-64D3-4EB5-9424-5E9DFE2F44D4}">
      <dgm:prSet/>
      <dgm:spPr/>
      <dgm:t>
        <a:bodyPr/>
        <a:lstStyle/>
        <a:p>
          <a:endParaRPr lang="pt-BR"/>
        </a:p>
      </dgm:t>
    </dgm:pt>
    <dgm:pt modelId="{5DF2B578-1422-4792-9F81-AEE0752F247A}">
      <dgm:prSet phldrT="[Texto]" custT="1"/>
      <dgm:spPr/>
      <dgm:t>
        <a:bodyPr/>
        <a:lstStyle/>
        <a:p>
          <a:r>
            <a:rPr lang="pt-BR" sz="1200" dirty="0" smtClean="0"/>
            <a:t>- Interface apenas com </a:t>
          </a:r>
          <a:r>
            <a:rPr lang="pt-BR" sz="1200" dirty="0" err="1" smtClean="0"/>
            <a:t>Transact</a:t>
          </a:r>
          <a:endParaRPr lang="pt-BR" sz="1200" dirty="0"/>
        </a:p>
      </dgm:t>
    </dgm:pt>
    <dgm:pt modelId="{BB1A0697-3A1C-4F74-8BC1-FF01B9028793}" type="parTrans" cxnId="{4F22A96D-E7D6-477D-99BB-419226778B9C}">
      <dgm:prSet/>
      <dgm:spPr/>
      <dgm:t>
        <a:bodyPr/>
        <a:lstStyle/>
        <a:p>
          <a:endParaRPr lang="pt-BR"/>
        </a:p>
      </dgm:t>
    </dgm:pt>
    <dgm:pt modelId="{1F6838B6-429A-4ED3-A9BA-B6700E6374F9}" type="sibTrans" cxnId="{4F22A96D-E7D6-477D-99BB-419226778B9C}">
      <dgm:prSet/>
      <dgm:spPr/>
      <dgm:t>
        <a:bodyPr/>
        <a:lstStyle/>
        <a:p>
          <a:endParaRPr lang="pt-BR"/>
        </a:p>
      </dgm:t>
    </dgm:pt>
    <dgm:pt modelId="{5A5F7E99-B102-4650-8976-CA1373FC1B52}">
      <dgm:prSet phldrT="[Texto]"/>
      <dgm:spPr/>
      <dgm:t>
        <a:bodyPr/>
        <a:lstStyle/>
        <a:p>
          <a:r>
            <a:rPr lang="pt-BR" sz="1900" dirty="0" smtClean="0"/>
            <a:t>Fixa, Móvel, OCSF e Combos ON-LINE</a:t>
          </a:r>
        </a:p>
      </dgm:t>
    </dgm:pt>
    <dgm:pt modelId="{825C5538-9088-495E-A653-C6A6A1FBF1D8}" type="parTrans" cxnId="{3AD4A2CE-90AE-480E-BDEC-3104ED658908}">
      <dgm:prSet/>
      <dgm:spPr/>
      <dgm:t>
        <a:bodyPr/>
        <a:lstStyle/>
        <a:p>
          <a:endParaRPr lang="pt-BR"/>
        </a:p>
      </dgm:t>
    </dgm:pt>
    <dgm:pt modelId="{0CC4C5C4-A780-43A8-A30D-93F968ACCF2D}" type="sibTrans" cxnId="{3AD4A2CE-90AE-480E-BDEC-3104ED658908}">
      <dgm:prSet/>
      <dgm:spPr/>
      <dgm:t>
        <a:bodyPr/>
        <a:lstStyle/>
        <a:p>
          <a:endParaRPr lang="pt-BR"/>
        </a:p>
      </dgm:t>
    </dgm:pt>
    <dgm:pt modelId="{8EFCD6E1-131E-4625-A3F0-BCCFD1417A57}">
      <dgm:prSet phldrT="[Texto]" custT="1"/>
      <dgm:spPr/>
      <dgm:t>
        <a:bodyPr/>
        <a:lstStyle/>
        <a:p>
          <a:r>
            <a:rPr lang="pt-BR" sz="1200" dirty="0" smtClean="0"/>
            <a:t>- Interface apenas </a:t>
          </a:r>
          <a:r>
            <a:rPr lang="pt-BR" sz="1200" dirty="0" err="1" smtClean="0"/>
            <a:t>Transact</a:t>
          </a:r>
          <a:endParaRPr lang="pt-BR" sz="1200" dirty="0" smtClean="0"/>
        </a:p>
      </dgm:t>
    </dgm:pt>
    <dgm:pt modelId="{BE1F8E5E-F521-4CC1-811C-DD541DA1B3D8}" type="parTrans" cxnId="{ADA01CD2-1311-41F5-9402-F2C2051BEE6E}">
      <dgm:prSet/>
      <dgm:spPr/>
      <dgm:t>
        <a:bodyPr/>
        <a:lstStyle/>
        <a:p>
          <a:endParaRPr lang="pt-BR"/>
        </a:p>
      </dgm:t>
    </dgm:pt>
    <dgm:pt modelId="{ABA0FBBF-F02C-4E85-9235-165128F0F83C}" type="sibTrans" cxnId="{ADA01CD2-1311-41F5-9402-F2C2051BEE6E}">
      <dgm:prSet/>
      <dgm:spPr/>
      <dgm:t>
        <a:bodyPr/>
        <a:lstStyle/>
        <a:p>
          <a:endParaRPr lang="pt-BR"/>
        </a:p>
      </dgm:t>
    </dgm:pt>
    <dgm:pt modelId="{87D28394-FD26-42DA-A862-5144CFA366DD}">
      <dgm:prSet phldrT="[Texto]" custT="1"/>
      <dgm:spPr/>
      <dgm:t>
        <a:bodyPr/>
        <a:lstStyle/>
        <a:p>
          <a:r>
            <a:rPr lang="pt-BR" sz="2400" dirty="0" smtClean="0"/>
            <a:t>50 dias</a:t>
          </a:r>
        </a:p>
      </dgm:t>
    </dgm:pt>
    <dgm:pt modelId="{777BFFE7-15AA-43FB-B1E7-4BEC65A622AE}" type="parTrans" cxnId="{E5FD96BB-BE5C-4439-AD97-F13DB9DE2809}">
      <dgm:prSet/>
      <dgm:spPr/>
      <dgm:t>
        <a:bodyPr/>
        <a:lstStyle/>
        <a:p>
          <a:endParaRPr lang="pt-BR"/>
        </a:p>
      </dgm:t>
    </dgm:pt>
    <dgm:pt modelId="{1D9DFDA3-B237-4CC2-B8B5-AF72F1EF4268}" type="sibTrans" cxnId="{E5FD96BB-BE5C-4439-AD97-F13DB9DE2809}">
      <dgm:prSet/>
      <dgm:spPr/>
      <dgm:t>
        <a:bodyPr/>
        <a:lstStyle/>
        <a:p>
          <a:endParaRPr lang="pt-BR"/>
        </a:p>
      </dgm:t>
    </dgm:pt>
    <dgm:pt modelId="{CC6A96C8-7B07-427C-913F-2CAC023C84FA}">
      <dgm:prSet phldrT="[Texto]" custT="1"/>
      <dgm:spPr/>
      <dgm:t>
        <a:bodyPr/>
        <a:lstStyle/>
        <a:p>
          <a:r>
            <a:rPr lang="pt-BR" sz="1500" dirty="0" smtClean="0"/>
            <a:t>Integração Siebel, Cobrança, Faturamento, URA, </a:t>
          </a:r>
          <a:r>
            <a:rPr lang="pt-BR" sz="1500" dirty="0" err="1" smtClean="0"/>
            <a:t>etc</a:t>
          </a:r>
          <a:endParaRPr lang="pt-BR" sz="1500" dirty="0" smtClean="0"/>
        </a:p>
        <a:p>
          <a:r>
            <a:rPr lang="pt-BR" sz="1200" dirty="0" smtClean="0"/>
            <a:t>- Enriquecimento de dados para maior assertividade</a:t>
          </a:r>
        </a:p>
      </dgm:t>
    </dgm:pt>
    <dgm:pt modelId="{12935E15-1A3A-4184-BBE9-266BF747313F}" type="parTrans" cxnId="{27C7A59E-3E7F-452C-9E8C-982FE7DD7F37}">
      <dgm:prSet/>
      <dgm:spPr/>
      <dgm:t>
        <a:bodyPr/>
        <a:lstStyle/>
        <a:p>
          <a:endParaRPr lang="pt-BR"/>
        </a:p>
      </dgm:t>
    </dgm:pt>
    <dgm:pt modelId="{F6CE055D-34B9-451C-BABD-62FB52F54B2A}" type="sibTrans" cxnId="{27C7A59E-3E7F-452C-9E8C-982FE7DD7F37}">
      <dgm:prSet/>
      <dgm:spPr/>
      <dgm:t>
        <a:bodyPr/>
        <a:lstStyle/>
        <a:p>
          <a:endParaRPr lang="pt-BR"/>
        </a:p>
      </dgm:t>
    </dgm:pt>
    <dgm:pt modelId="{E363AA2A-E285-4EFC-8667-6CB4283D0773}">
      <dgm:prSet phldrT="[Texto]" custT="1"/>
      <dgm:spPr/>
      <dgm:t>
        <a:bodyPr/>
        <a:lstStyle/>
        <a:p>
          <a:r>
            <a:rPr lang="pt-BR" sz="2400" dirty="0" smtClean="0"/>
            <a:t>20 dias</a:t>
          </a:r>
          <a:r>
            <a:rPr lang="pt-BR" sz="1200" dirty="0" smtClean="0"/>
            <a:t> </a:t>
          </a:r>
        </a:p>
      </dgm:t>
    </dgm:pt>
    <dgm:pt modelId="{F4ABDA9A-E5F4-4BDD-B367-97F5BFFCE7CD}" type="parTrans" cxnId="{A4D84BE2-3964-45C6-8637-CBBB4C378599}">
      <dgm:prSet/>
      <dgm:spPr/>
      <dgm:t>
        <a:bodyPr/>
        <a:lstStyle/>
        <a:p>
          <a:endParaRPr lang="pt-BR"/>
        </a:p>
      </dgm:t>
    </dgm:pt>
    <dgm:pt modelId="{14D5CBBA-012C-4026-9F79-5FB9D2836E9C}" type="sibTrans" cxnId="{A4D84BE2-3964-45C6-8637-CBBB4C378599}">
      <dgm:prSet/>
      <dgm:spPr/>
      <dgm:t>
        <a:bodyPr/>
        <a:lstStyle/>
        <a:p>
          <a:endParaRPr lang="pt-BR"/>
        </a:p>
      </dgm:t>
    </dgm:pt>
    <dgm:pt modelId="{6E09686C-0B65-403B-8E61-EE95BC2F2D20}">
      <dgm:prSet phldrT="[Texto]" custT="1"/>
      <dgm:spPr/>
      <dgm:t>
        <a:bodyPr/>
        <a:lstStyle/>
        <a:p>
          <a:r>
            <a:rPr lang="pt-BR" sz="1200" dirty="0" smtClean="0"/>
            <a:t>Aumento Produtividade </a:t>
          </a:r>
          <a:r>
            <a:rPr lang="pt-BR" sz="1200" dirty="0" err="1" smtClean="0"/>
            <a:t>PAs</a:t>
          </a:r>
          <a:endParaRPr lang="pt-BR" sz="1200" dirty="0" smtClean="0"/>
        </a:p>
        <a:p>
          <a:r>
            <a:rPr lang="pt-BR" sz="1200" dirty="0" smtClean="0"/>
            <a:t>- Criação das telas flexíveis  </a:t>
          </a:r>
        </a:p>
      </dgm:t>
    </dgm:pt>
    <dgm:pt modelId="{F30D2116-6630-4FE2-BD4B-3873882F5E58}" type="parTrans" cxnId="{268AA039-BECB-44F4-8BBA-660DA3AF0FAA}">
      <dgm:prSet/>
      <dgm:spPr/>
      <dgm:t>
        <a:bodyPr/>
        <a:lstStyle/>
        <a:p>
          <a:endParaRPr lang="pt-BR"/>
        </a:p>
      </dgm:t>
    </dgm:pt>
    <dgm:pt modelId="{2E62DFEA-B663-4318-B045-CCDBBF9056FA}" type="sibTrans" cxnId="{268AA039-BECB-44F4-8BBA-660DA3AF0FAA}">
      <dgm:prSet/>
      <dgm:spPr/>
      <dgm:t>
        <a:bodyPr/>
        <a:lstStyle/>
        <a:p>
          <a:endParaRPr lang="pt-BR"/>
        </a:p>
      </dgm:t>
    </dgm:pt>
    <dgm:pt modelId="{76652291-E4AA-4C2D-B80C-864FE34A0241}" type="pres">
      <dgm:prSet presAssocID="{9DC6F170-DBFB-4F33-B79F-F034828189B6}" presName="Name0" presStyleCnt="0">
        <dgm:presLayoutVars>
          <dgm:chMax val="7"/>
          <dgm:chPref val="7"/>
          <dgm:dir/>
          <dgm:animOne val="branch"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3A664929-1D5C-45B2-BCED-2729DB98FE9F}" type="pres">
      <dgm:prSet presAssocID="{8FAFE053-FC0C-4A46-9E52-BED9B8D455E7}" presName="ParentComposite" presStyleCnt="0"/>
      <dgm:spPr/>
    </dgm:pt>
    <dgm:pt modelId="{9EB4E357-18EB-42DA-A323-467A24E1DFCE}" type="pres">
      <dgm:prSet presAssocID="{8FAFE053-FC0C-4A46-9E52-BED9B8D455E7}" presName="Chord" presStyleLbl="bgShp" presStyleIdx="0" presStyleCnt="5"/>
      <dgm:spPr/>
    </dgm:pt>
    <dgm:pt modelId="{3BB23E9D-6ECD-4B91-AD70-DD9D0437677A}" type="pres">
      <dgm:prSet presAssocID="{8FAFE053-FC0C-4A46-9E52-BED9B8D455E7}" presName="Pie" presStyleLbl="alignNode1" presStyleIdx="0" presStyleCnt="5"/>
      <dgm:spPr/>
    </dgm:pt>
    <dgm:pt modelId="{B4701ED1-B2F1-4641-9861-2E31BE989A63}" type="pres">
      <dgm:prSet presAssocID="{8FAFE053-FC0C-4A46-9E52-BED9B8D455E7}" presName="Parent" presStyleLbl="revTx" presStyleIdx="0" presStyleCnt="1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3E60413-A71F-4F93-80DB-6202163F721B}" type="pres">
      <dgm:prSet presAssocID="{59B584B5-43B6-4313-9D56-20593998B76A}" presName="negSibTrans" presStyleCnt="0"/>
      <dgm:spPr/>
    </dgm:pt>
    <dgm:pt modelId="{A988E576-9D44-4FA2-AD06-795A2E33DCBA}" type="pres">
      <dgm:prSet presAssocID="{8FAFE053-FC0C-4A46-9E52-BED9B8D455E7}" presName="composite" presStyleCnt="0"/>
      <dgm:spPr/>
    </dgm:pt>
    <dgm:pt modelId="{BDA2D086-CA92-4661-8F48-6A9E861575AD}" type="pres">
      <dgm:prSet presAssocID="{8FAFE053-FC0C-4A46-9E52-BED9B8D455E7}" presName="Child" presStyleLbl="revTx" presStyleIdx="1" presStyleCnt="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CCA61AC-3454-486F-9139-F4D90A195270}" type="pres">
      <dgm:prSet presAssocID="{9CF6D168-7573-4DE8-89AF-2E59DD550400}" presName="sibTrans" presStyleCnt="0"/>
      <dgm:spPr/>
    </dgm:pt>
    <dgm:pt modelId="{90ED2031-36C4-4398-84B6-E77EDB00333F}" type="pres">
      <dgm:prSet presAssocID="{3F589A5D-3556-40EE-8A96-181A10CAC4C3}" presName="ParentComposite" presStyleCnt="0"/>
      <dgm:spPr/>
    </dgm:pt>
    <dgm:pt modelId="{91B40E70-EC36-4D5A-833E-E138F26AF749}" type="pres">
      <dgm:prSet presAssocID="{3F589A5D-3556-40EE-8A96-181A10CAC4C3}" presName="Chord" presStyleLbl="bgShp" presStyleIdx="1" presStyleCnt="5"/>
      <dgm:spPr/>
    </dgm:pt>
    <dgm:pt modelId="{5D79983A-F60F-41EB-8989-CC5D6CE70EF6}" type="pres">
      <dgm:prSet presAssocID="{3F589A5D-3556-40EE-8A96-181A10CAC4C3}" presName="Pie" presStyleLbl="alignNode1" presStyleIdx="1" presStyleCnt="5"/>
      <dgm:spPr/>
    </dgm:pt>
    <dgm:pt modelId="{425CAEFE-E40B-4562-AD54-7C69A49B2DBF}" type="pres">
      <dgm:prSet presAssocID="{3F589A5D-3556-40EE-8A96-181A10CAC4C3}" presName="Parent" presStyleLbl="revTx" presStyleIdx="2" presStyleCnt="1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031066C-AC06-4A2A-A3E5-4F925B2BFB8B}" type="pres">
      <dgm:prSet presAssocID="{911E6C31-C804-4641-A2FB-F403F737325D}" presName="negSibTrans" presStyleCnt="0"/>
      <dgm:spPr/>
    </dgm:pt>
    <dgm:pt modelId="{9415DEB9-6D73-4FA9-840A-006A87F352E1}" type="pres">
      <dgm:prSet presAssocID="{3F589A5D-3556-40EE-8A96-181A10CAC4C3}" presName="composite" presStyleCnt="0"/>
      <dgm:spPr/>
    </dgm:pt>
    <dgm:pt modelId="{F1BF70C7-85F7-4143-9415-D0FFA879C43D}" type="pres">
      <dgm:prSet presAssocID="{3F589A5D-3556-40EE-8A96-181A10CAC4C3}" presName="Child" presStyleLbl="revTx" presStyleIdx="3" presStyleCnt="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77899E0-5F36-43E7-A034-42354640749A}" type="pres">
      <dgm:prSet presAssocID="{0D7DACC3-5676-466C-80D0-B97BA252D2D8}" presName="sibTrans" presStyleCnt="0"/>
      <dgm:spPr/>
    </dgm:pt>
    <dgm:pt modelId="{04C82714-A5F8-40B7-A883-10ABFA1B3EC0}" type="pres">
      <dgm:prSet presAssocID="{ADD95561-BA3E-487F-AC50-38621C480D68}" presName="ParentComposite" presStyleCnt="0"/>
      <dgm:spPr/>
    </dgm:pt>
    <dgm:pt modelId="{39056821-3F7A-4EC8-B089-05AF71C6A6BF}" type="pres">
      <dgm:prSet presAssocID="{ADD95561-BA3E-487F-AC50-38621C480D68}" presName="Chord" presStyleLbl="bgShp" presStyleIdx="2" presStyleCnt="5"/>
      <dgm:spPr/>
    </dgm:pt>
    <dgm:pt modelId="{258207C9-4855-4352-92C7-46C824CAA2F3}" type="pres">
      <dgm:prSet presAssocID="{ADD95561-BA3E-487F-AC50-38621C480D68}" presName="Pie" presStyleLbl="alignNode1" presStyleIdx="2" presStyleCnt="5"/>
      <dgm:spPr/>
    </dgm:pt>
    <dgm:pt modelId="{935E3ED7-2857-43B7-BAA7-62585A9DB746}" type="pres">
      <dgm:prSet presAssocID="{ADD95561-BA3E-487F-AC50-38621C480D68}" presName="Parent" presStyleLbl="revTx" presStyleIdx="4" presStyleCnt="1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6565184-54E4-48F6-A7DC-5E9820458508}" type="pres">
      <dgm:prSet presAssocID="{0CC4C5C4-A780-43A8-A30D-93F968ACCF2D}" presName="negSibTrans" presStyleCnt="0"/>
      <dgm:spPr/>
    </dgm:pt>
    <dgm:pt modelId="{7872DDF1-4A2E-47A1-8231-2D1D66576D26}" type="pres">
      <dgm:prSet presAssocID="{ADD95561-BA3E-487F-AC50-38621C480D68}" presName="composite" presStyleCnt="0"/>
      <dgm:spPr/>
    </dgm:pt>
    <dgm:pt modelId="{5DA42535-160F-4FCD-AA6C-47FD5B32A8BB}" type="pres">
      <dgm:prSet presAssocID="{ADD95561-BA3E-487F-AC50-38621C480D68}" presName="Child" presStyleLbl="revTx" presStyleIdx="5" presStyleCnt="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10CDB25-A98D-49EF-BE0F-C95F27BDC4BD}" type="pres">
      <dgm:prSet presAssocID="{9C5F35CF-02E6-432A-ADB5-A0EA5E80556C}" presName="sibTrans" presStyleCnt="0"/>
      <dgm:spPr/>
    </dgm:pt>
    <dgm:pt modelId="{A74136DA-B376-4DC3-B211-21D0924C07DF}" type="pres">
      <dgm:prSet presAssocID="{87D28394-FD26-42DA-A862-5144CFA366DD}" presName="ParentComposite" presStyleCnt="0"/>
      <dgm:spPr/>
    </dgm:pt>
    <dgm:pt modelId="{2F1B927A-397B-41C5-9438-9811BAF38C12}" type="pres">
      <dgm:prSet presAssocID="{87D28394-FD26-42DA-A862-5144CFA366DD}" presName="Chord" presStyleLbl="bgShp" presStyleIdx="3" presStyleCnt="5"/>
      <dgm:spPr/>
    </dgm:pt>
    <dgm:pt modelId="{78899E9E-23B2-41B0-A00B-B83FEDCA3872}" type="pres">
      <dgm:prSet presAssocID="{87D28394-FD26-42DA-A862-5144CFA366DD}" presName="Pie" presStyleLbl="alignNode1" presStyleIdx="3" presStyleCnt="5"/>
      <dgm:spPr/>
    </dgm:pt>
    <dgm:pt modelId="{00743041-116D-49AB-84AE-A0890CDA6C0D}" type="pres">
      <dgm:prSet presAssocID="{87D28394-FD26-42DA-A862-5144CFA366DD}" presName="Parent" presStyleLbl="revTx" presStyleIdx="6" presStyleCnt="1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5C386A0-93D0-446C-9BA3-7258317D7498}" type="pres">
      <dgm:prSet presAssocID="{F6CE055D-34B9-451C-BABD-62FB52F54B2A}" presName="negSibTrans" presStyleCnt="0"/>
      <dgm:spPr/>
    </dgm:pt>
    <dgm:pt modelId="{A1C63EAD-40B6-49DF-AEF7-0B43981DDC82}" type="pres">
      <dgm:prSet presAssocID="{87D28394-FD26-42DA-A862-5144CFA366DD}" presName="composite" presStyleCnt="0"/>
      <dgm:spPr/>
    </dgm:pt>
    <dgm:pt modelId="{B6D0B285-713F-4CAE-BF56-6A1DEDE9DBA5}" type="pres">
      <dgm:prSet presAssocID="{87D28394-FD26-42DA-A862-5144CFA366DD}" presName="Child" presStyleLbl="revTx" presStyleIdx="7" presStyleCnt="10" custScaleX="11873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DA993C3-2A11-4323-B732-ECD0F4E79874}" type="pres">
      <dgm:prSet presAssocID="{1D9DFDA3-B237-4CC2-B8B5-AF72F1EF4268}" presName="sibTrans" presStyleCnt="0"/>
      <dgm:spPr/>
    </dgm:pt>
    <dgm:pt modelId="{4C018EF4-AE10-4A6E-91A6-8E2EAF1A7AE5}" type="pres">
      <dgm:prSet presAssocID="{E363AA2A-E285-4EFC-8667-6CB4283D0773}" presName="ParentComposite" presStyleCnt="0"/>
      <dgm:spPr/>
    </dgm:pt>
    <dgm:pt modelId="{60625F9E-4577-426F-B816-EB25F4FC379F}" type="pres">
      <dgm:prSet presAssocID="{E363AA2A-E285-4EFC-8667-6CB4283D0773}" presName="Chord" presStyleLbl="bgShp" presStyleIdx="4" presStyleCnt="5"/>
      <dgm:spPr/>
    </dgm:pt>
    <dgm:pt modelId="{86E77255-9947-4915-AA77-90C0B18DEB79}" type="pres">
      <dgm:prSet presAssocID="{E363AA2A-E285-4EFC-8667-6CB4283D0773}" presName="Pie" presStyleLbl="alignNode1" presStyleIdx="4" presStyleCnt="5"/>
      <dgm:spPr/>
    </dgm:pt>
    <dgm:pt modelId="{C76EE90B-2719-4CE0-B9C7-2FDFC26685C7}" type="pres">
      <dgm:prSet presAssocID="{E363AA2A-E285-4EFC-8667-6CB4283D0773}" presName="Parent" presStyleLbl="revTx" presStyleIdx="8" presStyleCnt="1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2581CC0-4B17-47EC-AC0F-4F1E929BCBAD}" type="pres">
      <dgm:prSet presAssocID="{2E62DFEA-B663-4318-B045-CCDBBF9056FA}" presName="negSibTrans" presStyleCnt="0"/>
      <dgm:spPr/>
    </dgm:pt>
    <dgm:pt modelId="{10A2AF5F-545A-42C0-8F9E-BBB57DAFBCC5}" type="pres">
      <dgm:prSet presAssocID="{E363AA2A-E285-4EFC-8667-6CB4283D0773}" presName="composite" presStyleCnt="0"/>
      <dgm:spPr/>
    </dgm:pt>
    <dgm:pt modelId="{8EE391ED-2FBD-49BB-8E03-B4BFE091C228}" type="pres">
      <dgm:prSet presAssocID="{E363AA2A-E285-4EFC-8667-6CB4283D0773}" presName="Child" presStyleLbl="revTx" presStyleIdx="9" presStyleCnt="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45B67B6-C654-4C60-82DD-985C4A3699A1}" type="presOf" srcId="{87D28394-FD26-42DA-A862-5144CFA366DD}" destId="{00743041-116D-49AB-84AE-A0890CDA6C0D}" srcOrd="0" destOrd="0" presId="urn:microsoft.com/office/officeart/2009/3/layout/PieProcess"/>
    <dgm:cxn modelId="{268AA039-BECB-44F4-8BBA-660DA3AF0FAA}" srcId="{E363AA2A-E285-4EFC-8667-6CB4283D0773}" destId="{6E09686C-0B65-403B-8E61-EE95BC2F2D20}" srcOrd="0" destOrd="0" parTransId="{F30D2116-6630-4FE2-BD4B-3873882F5E58}" sibTransId="{2E62DFEA-B663-4318-B045-CCDBBF9056FA}"/>
    <dgm:cxn modelId="{6B51F034-3EE6-4097-9C39-45C04DFAB8FA}" type="presOf" srcId="{E363AA2A-E285-4EFC-8667-6CB4283D0773}" destId="{C76EE90B-2719-4CE0-B9C7-2FDFC26685C7}" srcOrd="0" destOrd="0" presId="urn:microsoft.com/office/officeart/2009/3/layout/PieProcess"/>
    <dgm:cxn modelId="{CBB2ACAC-13CF-45F1-8E50-293FD95899A2}" type="presOf" srcId="{B28BED29-992C-42A4-82F4-D81AA3698E81}" destId="{BDA2D086-CA92-4661-8F48-6A9E861575AD}" srcOrd="0" destOrd="0" presId="urn:microsoft.com/office/officeart/2009/3/layout/PieProcess"/>
    <dgm:cxn modelId="{49286359-64D3-4EB5-9424-5E9DFE2F44D4}" srcId="{8FAFE053-FC0C-4A46-9E52-BED9B8D455E7}" destId="{6AE4115B-6E27-4E83-8398-7ED71F73CB7C}" srcOrd="1" destOrd="0" parTransId="{72A91A64-386D-49E8-9AC5-CE5BC7B2E49B}" sibTransId="{58477A67-6F96-4512-BCD0-D71DEA89D7CA}"/>
    <dgm:cxn modelId="{E90E71F3-A0C9-4F22-8096-79D3F7CC3F17}" srcId="{9DC6F170-DBFB-4F33-B79F-F034828189B6}" destId="{8FAFE053-FC0C-4A46-9E52-BED9B8D455E7}" srcOrd="0" destOrd="0" parTransId="{1AEFD4C9-AEE3-4D65-BA63-3DF4D943A2D3}" sibTransId="{9CF6D168-7573-4DE8-89AF-2E59DD550400}"/>
    <dgm:cxn modelId="{D7B2FF19-6D93-451E-85E9-FE7488C9AADA}" type="presOf" srcId="{CC6A96C8-7B07-427C-913F-2CAC023C84FA}" destId="{B6D0B285-713F-4CAE-BF56-6A1DEDE9DBA5}" srcOrd="0" destOrd="0" presId="urn:microsoft.com/office/officeart/2009/3/layout/PieProcess"/>
    <dgm:cxn modelId="{4F22A96D-E7D6-477D-99BB-419226778B9C}" srcId="{3F589A5D-3556-40EE-8A96-181A10CAC4C3}" destId="{5DF2B578-1422-4792-9F81-AEE0752F247A}" srcOrd="1" destOrd="0" parTransId="{BB1A0697-3A1C-4F74-8BC1-FF01B9028793}" sibTransId="{1F6838B6-429A-4ED3-A9BA-B6700E6374F9}"/>
    <dgm:cxn modelId="{3AD4A2CE-90AE-480E-BDEC-3104ED658908}" srcId="{ADD95561-BA3E-487F-AC50-38621C480D68}" destId="{5A5F7E99-B102-4650-8976-CA1373FC1B52}" srcOrd="0" destOrd="0" parTransId="{825C5538-9088-495E-A653-C6A6A1FBF1D8}" sibTransId="{0CC4C5C4-A780-43A8-A30D-93F968ACCF2D}"/>
    <dgm:cxn modelId="{F796E42F-524C-4E2D-9D9F-25EF52EEC852}" srcId="{9DC6F170-DBFB-4F33-B79F-F034828189B6}" destId="{3F589A5D-3556-40EE-8A96-181A10CAC4C3}" srcOrd="1" destOrd="0" parTransId="{35887F9B-2F4A-4529-AFA1-21B15CC1623D}" sibTransId="{0D7DACC3-5676-466C-80D0-B97BA252D2D8}"/>
    <dgm:cxn modelId="{5E868BDF-76B6-4CFC-9D82-2BAEFD0E30F1}" type="presOf" srcId="{8EFCD6E1-131E-4625-A3F0-BCCFD1417A57}" destId="{5DA42535-160F-4FCD-AA6C-47FD5B32A8BB}" srcOrd="0" destOrd="1" presId="urn:microsoft.com/office/officeart/2009/3/layout/PieProcess"/>
    <dgm:cxn modelId="{F57E3D36-EC5E-44FC-86D2-0A551E656C90}" srcId="{3F589A5D-3556-40EE-8A96-181A10CAC4C3}" destId="{DCEAB9D1-704E-4173-915D-04B4B83591CE}" srcOrd="0" destOrd="0" parTransId="{1B3128EB-FC82-483F-AB68-51459EC64EF0}" sibTransId="{911E6C31-C804-4641-A2FB-F403F737325D}"/>
    <dgm:cxn modelId="{F93E5B80-4CA9-43E5-B612-62FF88F1858F}" type="presOf" srcId="{8FAFE053-FC0C-4A46-9E52-BED9B8D455E7}" destId="{B4701ED1-B2F1-4641-9861-2E31BE989A63}" srcOrd="0" destOrd="0" presId="urn:microsoft.com/office/officeart/2009/3/layout/PieProcess"/>
    <dgm:cxn modelId="{927B0045-F236-4186-9121-ED82C7F69CF8}" type="presOf" srcId="{6AE4115B-6E27-4E83-8398-7ED71F73CB7C}" destId="{BDA2D086-CA92-4661-8F48-6A9E861575AD}" srcOrd="0" destOrd="1" presId="urn:microsoft.com/office/officeart/2009/3/layout/PieProcess"/>
    <dgm:cxn modelId="{5B1B58FF-AF09-48BD-A13F-268FC6C44800}" type="presOf" srcId="{5DF2B578-1422-4792-9F81-AEE0752F247A}" destId="{F1BF70C7-85F7-4143-9415-D0FFA879C43D}" srcOrd="0" destOrd="1" presId="urn:microsoft.com/office/officeart/2009/3/layout/PieProcess"/>
    <dgm:cxn modelId="{C9EE352E-B668-4D5F-8CAC-956822761A47}" type="presOf" srcId="{ADD95561-BA3E-487F-AC50-38621C480D68}" destId="{935E3ED7-2857-43B7-BAA7-62585A9DB746}" srcOrd="0" destOrd="0" presId="urn:microsoft.com/office/officeart/2009/3/layout/PieProcess"/>
    <dgm:cxn modelId="{6B006F06-36F1-433C-8F57-A6A794157FCE}" type="presOf" srcId="{9DC6F170-DBFB-4F33-B79F-F034828189B6}" destId="{76652291-E4AA-4C2D-B80C-864FE34A0241}" srcOrd="0" destOrd="0" presId="urn:microsoft.com/office/officeart/2009/3/layout/PieProcess"/>
    <dgm:cxn modelId="{F25E4312-DD8D-49F7-9117-8214C62848DC}" type="presOf" srcId="{DCEAB9D1-704E-4173-915D-04B4B83591CE}" destId="{F1BF70C7-85F7-4143-9415-D0FFA879C43D}" srcOrd="0" destOrd="0" presId="urn:microsoft.com/office/officeart/2009/3/layout/PieProcess"/>
    <dgm:cxn modelId="{E5FD96BB-BE5C-4439-AD97-F13DB9DE2809}" srcId="{9DC6F170-DBFB-4F33-B79F-F034828189B6}" destId="{87D28394-FD26-42DA-A862-5144CFA366DD}" srcOrd="3" destOrd="0" parTransId="{777BFFE7-15AA-43FB-B1E7-4BEC65A622AE}" sibTransId="{1D9DFDA3-B237-4CC2-B8B5-AF72F1EF4268}"/>
    <dgm:cxn modelId="{AD53F21E-3240-411B-9A88-E870086A8777}" type="presOf" srcId="{6E09686C-0B65-403B-8E61-EE95BC2F2D20}" destId="{8EE391ED-2FBD-49BB-8E03-B4BFE091C228}" srcOrd="0" destOrd="0" presId="urn:microsoft.com/office/officeart/2009/3/layout/PieProcess"/>
    <dgm:cxn modelId="{ADA01CD2-1311-41F5-9402-F2C2051BEE6E}" srcId="{ADD95561-BA3E-487F-AC50-38621C480D68}" destId="{8EFCD6E1-131E-4625-A3F0-BCCFD1417A57}" srcOrd="1" destOrd="0" parTransId="{BE1F8E5E-F521-4CC1-811C-DD541DA1B3D8}" sibTransId="{ABA0FBBF-F02C-4E85-9235-165128F0F83C}"/>
    <dgm:cxn modelId="{B4B9CE0B-3477-4CFE-A5FF-D06ACCD7B687}" type="presOf" srcId="{5A5F7E99-B102-4650-8976-CA1373FC1B52}" destId="{5DA42535-160F-4FCD-AA6C-47FD5B32A8BB}" srcOrd="0" destOrd="0" presId="urn:microsoft.com/office/officeart/2009/3/layout/PieProcess"/>
    <dgm:cxn modelId="{30969192-A41E-4D1B-A4FA-EA4923B3DBC3}" type="presOf" srcId="{3F589A5D-3556-40EE-8A96-181A10CAC4C3}" destId="{425CAEFE-E40B-4562-AD54-7C69A49B2DBF}" srcOrd="0" destOrd="0" presId="urn:microsoft.com/office/officeart/2009/3/layout/PieProcess"/>
    <dgm:cxn modelId="{A4D84BE2-3964-45C6-8637-CBBB4C378599}" srcId="{9DC6F170-DBFB-4F33-B79F-F034828189B6}" destId="{E363AA2A-E285-4EFC-8667-6CB4283D0773}" srcOrd="4" destOrd="0" parTransId="{F4ABDA9A-E5F4-4BDD-B367-97F5BFFCE7CD}" sibTransId="{14D5CBBA-012C-4026-9F79-5FB9D2836E9C}"/>
    <dgm:cxn modelId="{DDE09AC0-FBF9-45F2-93F2-0713E568D204}" srcId="{8FAFE053-FC0C-4A46-9E52-BED9B8D455E7}" destId="{B28BED29-992C-42A4-82F4-D81AA3698E81}" srcOrd="0" destOrd="0" parTransId="{F07B2647-E857-4F3A-BB1A-88B4C607C9C8}" sibTransId="{59B584B5-43B6-4313-9D56-20593998B76A}"/>
    <dgm:cxn modelId="{27C7A59E-3E7F-452C-9E8C-982FE7DD7F37}" srcId="{87D28394-FD26-42DA-A862-5144CFA366DD}" destId="{CC6A96C8-7B07-427C-913F-2CAC023C84FA}" srcOrd="0" destOrd="0" parTransId="{12935E15-1A3A-4184-BBE9-266BF747313F}" sibTransId="{F6CE055D-34B9-451C-BABD-62FB52F54B2A}"/>
    <dgm:cxn modelId="{33BA5587-2532-4871-836F-32C5A66C4B7E}" srcId="{9DC6F170-DBFB-4F33-B79F-F034828189B6}" destId="{ADD95561-BA3E-487F-AC50-38621C480D68}" srcOrd="2" destOrd="0" parTransId="{EBBA3C6D-5699-4729-8900-C49A33AF5303}" sibTransId="{9C5F35CF-02E6-432A-ADB5-A0EA5E80556C}"/>
    <dgm:cxn modelId="{46F0B719-9BD7-4277-B993-623DC29E8345}" type="presParOf" srcId="{76652291-E4AA-4C2D-B80C-864FE34A0241}" destId="{3A664929-1D5C-45B2-BCED-2729DB98FE9F}" srcOrd="0" destOrd="0" presId="urn:microsoft.com/office/officeart/2009/3/layout/PieProcess"/>
    <dgm:cxn modelId="{DDBC3EEF-2288-4955-BE82-9A707D3B1A0A}" type="presParOf" srcId="{3A664929-1D5C-45B2-BCED-2729DB98FE9F}" destId="{9EB4E357-18EB-42DA-A323-467A24E1DFCE}" srcOrd="0" destOrd="0" presId="urn:microsoft.com/office/officeart/2009/3/layout/PieProcess"/>
    <dgm:cxn modelId="{AE4F8629-1A73-448A-A158-B398496AAE9F}" type="presParOf" srcId="{3A664929-1D5C-45B2-BCED-2729DB98FE9F}" destId="{3BB23E9D-6ECD-4B91-AD70-DD9D0437677A}" srcOrd="1" destOrd="0" presId="urn:microsoft.com/office/officeart/2009/3/layout/PieProcess"/>
    <dgm:cxn modelId="{9CCF45AE-9ED6-44FB-9E8C-DA8D9051ECF1}" type="presParOf" srcId="{3A664929-1D5C-45B2-BCED-2729DB98FE9F}" destId="{B4701ED1-B2F1-4641-9861-2E31BE989A63}" srcOrd="2" destOrd="0" presId="urn:microsoft.com/office/officeart/2009/3/layout/PieProcess"/>
    <dgm:cxn modelId="{4CB22D4B-2CCE-4084-90F2-B93E89DEF0B1}" type="presParOf" srcId="{76652291-E4AA-4C2D-B80C-864FE34A0241}" destId="{23E60413-A71F-4F93-80DB-6202163F721B}" srcOrd="1" destOrd="0" presId="urn:microsoft.com/office/officeart/2009/3/layout/PieProcess"/>
    <dgm:cxn modelId="{23307AF2-1E68-4079-A6D7-1C076DD90B50}" type="presParOf" srcId="{76652291-E4AA-4C2D-B80C-864FE34A0241}" destId="{A988E576-9D44-4FA2-AD06-795A2E33DCBA}" srcOrd="2" destOrd="0" presId="urn:microsoft.com/office/officeart/2009/3/layout/PieProcess"/>
    <dgm:cxn modelId="{AEFECECC-313F-4C4C-BA7B-A9B88727E0DD}" type="presParOf" srcId="{A988E576-9D44-4FA2-AD06-795A2E33DCBA}" destId="{BDA2D086-CA92-4661-8F48-6A9E861575AD}" srcOrd="0" destOrd="0" presId="urn:microsoft.com/office/officeart/2009/3/layout/PieProcess"/>
    <dgm:cxn modelId="{8414B4CE-7EEB-4340-A752-4754F7B3C7F1}" type="presParOf" srcId="{76652291-E4AA-4C2D-B80C-864FE34A0241}" destId="{2CCA61AC-3454-486F-9139-F4D90A195270}" srcOrd="3" destOrd="0" presId="urn:microsoft.com/office/officeart/2009/3/layout/PieProcess"/>
    <dgm:cxn modelId="{AC06C792-A3F6-4BCC-8732-E1CFBB1F79C6}" type="presParOf" srcId="{76652291-E4AA-4C2D-B80C-864FE34A0241}" destId="{90ED2031-36C4-4398-84B6-E77EDB00333F}" srcOrd="4" destOrd="0" presId="urn:microsoft.com/office/officeart/2009/3/layout/PieProcess"/>
    <dgm:cxn modelId="{EF7C56CB-17C6-4D35-9DEC-657E4F2A7ED0}" type="presParOf" srcId="{90ED2031-36C4-4398-84B6-E77EDB00333F}" destId="{91B40E70-EC36-4D5A-833E-E138F26AF749}" srcOrd="0" destOrd="0" presId="urn:microsoft.com/office/officeart/2009/3/layout/PieProcess"/>
    <dgm:cxn modelId="{6B042BE1-248A-478A-B7FF-656748EE3A52}" type="presParOf" srcId="{90ED2031-36C4-4398-84B6-E77EDB00333F}" destId="{5D79983A-F60F-41EB-8989-CC5D6CE70EF6}" srcOrd="1" destOrd="0" presId="urn:microsoft.com/office/officeart/2009/3/layout/PieProcess"/>
    <dgm:cxn modelId="{E2D07214-E56A-42AC-AF33-D66CC78872C0}" type="presParOf" srcId="{90ED2031-36C4-4398-84B6-E77EDB00333F}" destId="{425CAEFE-E40B-4562-AD54-7C69A49B2DBF}" srcOrd="2" destOrd="0" presId="urn:microsoft.com/office/officeart/2009/3/layout/PieProcess"/>
    <dgm:cxn modelId="{83DB08B4-5E81-4704-B92E-12D25B90CB6D}" type="presParOf" srcId="{76652291-E4AA-4C2D-B80C-864FE34A0241}" destId="{D031066C-AC06-4A2A-A3E5-4F925B2BFB8B}" srcOrd="5" destOrd="0" presId="urn:microsoft.com/office/officeart/2009/3/layout/PieProcess"/>
    <dgm:cxn modelId="{F88B2883-B62D-4D65-AABD-2F678F924895}" type="presParOf" srcId="{76652291-E4AA-4C2D-B80C-864FE34A0241}" destId="{9415DEB9-6D73-4FA9-840A-006A87F352E1}" srcOrd="6" destOrd="0" presId="urn:microsoft.com/office/officeart/2009/3/layout/PieProcess"/>
    <dgm:cxn modelId="{44D97ACA-40C7-4354-80DC-E933733E8831}" type="presParOf" srcId="{9415DEB9-6D73-4FA9-840A-006A87F352E1}" destId="{F1BF70C7-85F7-4143-9415-D0FFA879C43D}" srcOrd="0" destOrd="0" presId="urn:microsoft.com/office/officeart/2009/3/layout/PieProcess"/>
    <dgm:cxn modelId="{5BA04D6E-2DAC-487D-914E-E1FD3A859D63}" type="presParOf" srcId="{76652291-E4AA-4C2D-B80C-864FE34A0241}" destId="{B77899E0-5F36-43E7-A034-42354640749A}" srcOrd="7" destOrd="0" presId="urn:microsoft.com/office/officeart/2009/3/layout/PieProcess"/>
    <dgm:cxn modelId="{25C4E7CD-82C8-41B7-BEA0-FBA856E4B45C}" type="presParOf" srcId="{76652291-E4AA-4C2D-B80C-864FE34A0241}" destId="{04C82714-A5F8-40B7-A883-10ABFA1B3EC0}" srcOrd="8" destOrd="0" presId="urn:microsoft.com/office/officeart/2009/3/layout/PieProcess"/>
    <dgm:cxn modelId="{5F7F56C8-0507-47EE-9C0C-0B60B0A2F6F0}" type="presParOf" srcId="{04C82714-A5F8-40B7-A883-10ABFA1B3EC0}" destId="{39056821-3F7A-4EC8-B089-05AF71C6A6BF}" srcOrd="0" destOrd="0" presId="urn:microsoft.com/office/officeart/2009/3/layout/PieProcess"/>
    <dgm:cxn modelId="{421650E0-B932-4D52-8101-3B8D1FBA3C6F}" type="presParOf" srcId="{04C82714-A5F8-40B7-A883-10ABFA1B3EC0}" destId="{258207C9-4855-4352-92C7-46C824CAA2F3}" srcOrd="1" destOrd="0" presId="urn:microsoft.com/office/officeart/2009/3/layout/PieProcess"/>
    <dgm:cxn modelId="{58F2EF99-1179-44E6-94DE-E7B7747DB124}" type="presParOf" srcId="{04C82714-A5F8-40B7-A883-10ABFA1B3EC0}" destId="{935E3ED7-2857-43B7-BAA7-62585A9DB746}" srcOrd="2" destOrd="0" presId="urn:microsoft.com/office/officeart/2009/3/layout/PieProcess"/>
    <dgm:cxn modelId="{36241A43-D3CE-47F4-A62C-9B844622A12B}" type="presParOf" srcId="{76652291-E4AA-4C2D-B80C-864FE34A0241}" destId="{46565184-54E4-48F6-A7DC-5E9820458508}" srcOrd="9" destOrd="0" presId="urn:microsoft.com/office/officeart/2009/3/layout/PieProcess"/>
    <dgm:cxn modelId="{5DD3A64D-A541-40D2-83FB-61B0D8323263}" type="presParOf" srcId="{76652291-E4AA-4C2D-B80C-864FE34A0241}" destId="{7872DDF1-4A2E-47A1-8231-2D1D66576D26}" srcOrd="10" destOrd="0" presId="urn:microsoft.com/office/officeart/2009/3/layout/PieProcess"/>
    <dgm:cxn modelId="{9B0DC7D1-680B-4EB1-906D-416FCBBEAC2D}" type="presParOf" srcId="{7872DDF1-4A2E-47A1-8231-2D1D66576D26}" destId="{5DA42535-160F-4FCD-AA6C-47FD5B32A8BB}" srcOrd="0" destOrd="0" presId="urn:microsoft.com/office/officeart/2009/3/layout/PieProcess"/>
    <dgm:cxn modelId="{646D09D2-CF99-4BD5-91E9-2F4D05F3F9CC}" type="presParOf" srcId="{76652291-E4AA-4C2D-B80C-864FE34A0241}" destId="{810CDB25-A98D-49EF-BE0F-C95F27BDC4BD}" srcOrd="11" destOrd="0" presId="urn:microsoft.com/office/officeart/2009/3/layout/PieProcess"/>
    <dgm:cxn modelId="{50F6616B-4E63-4D0B-BDD1-43C5EB78A0C3}" type="presParOf" srcId="{76652291-E4AA-4C2D-B80C-864FE34A0241}" destId="{A74136DA-B376-4DC3-B211-21D0924C07DF}" srcOrd="12" destOrd="0" presId="urn:microsoft.com/office/officeart/2009/3/layout/PieProcess"/>
    <dgm:cxn modelId="{3991FD1D-F966-4403-AE1C-06B87A3EBAAD}" type="presParOf" srcId="{A74136DA-B376-4DC3-B211-21D0924C07DF}" destId="{2F1B927A-397B-41C5-9438-9811BAF38C12}" srcOrd="0" destOrd="0" presId="urn:microsoft.com/office/officeart/2009/3/layout/PieProcess"/>
    <dgm:cxn modelId="{6C70560A-D664-4DEA-AB30-46C3B4CDB818}" type="presParOf" srcId="{A74136DA-B376-4DC3-B211-21D0924C07DF}" destId="{78899E9E-23B2-41B0-A00B-B83FEDCA3872}" srcOrd="1" destOrd="0" presId="urn:microsoft.com/office/officeart/2009/3/layout/PieProcess"/>
    <dgm:cxn modelId="{67FA35F9-5333-4169-97D9-3528790FDE9D}" type="presParOf" srcId="{A74136DA-B376-4DC3-B211-21D0924C07DF}" destId="{00743041-116D-49AB-84AE-A0890CDA6C0D}" srcOrd="2" destOrd="0" presId="urn:microsoft.com/office/officeart/2009/3/layout/PieProcess"/>
    <dgm:cxn modelId="{14623EB2-3FFB-4A52-86AF-AD5A6274D107}" type="presParOf" srcId="{76652291-E4AA-4C2D-B80C-864FE34A0241}" destId="{25C386A0-93D0-446C-9BA3-7258317D7498}" srcOrd="13" destOrd="0" presId="urn:microsoft.com/office/officeart/2009/3/layout/PieProcess"/>
    <dgm:cxn modelId="{809A20F4-DE67-4E5D-ABB0-3F475303BFB8}" type="presParOf" srcId="{76652291-E4AA-4C2D-B80C-864FE34A0241}" destId="{A1C63EAD-40B6-49DF-AEF7-0B43981DDC82}" srcOrd="14" destOrd="0" presId="urn:microsoft.com/office/officeart/2009/3/layout/PieProcess"/>
    <dgm:cxn modelId="{FA5D5327-866E-4A43-BA94-4F22BDDCF95E}" type="presParOf" srcId="{A1C63EAD-40B6-49DF-AEF7-0B43981DDC82}" destId="{B6D0B285-713F-4CAE-BF56-6A1DEDE9DBA5}" srcOrd="0" destOrd="0" presId="urn:microsoft.com/office/officeart/2009/3/layout/PieProcess"/>
    <dgm:cxn modelId="{89BBED7D-EC65-4F08-8F11-40D1A5F5167F}" type="presParOf" srcId="{76652291-E4AA-4C2D-B80C-864FE34A0241}" destId="{8DA993C3-2A11-4323-B732-ECD0F4E79874}" srcOrd="15" destOrd="0" presId="urn:microsoft.com/office/officeart/2009/3/layout/PieProcess"/>
    <dgm:cxn modelId="{DF9D3E73-E802-49DB-B802-BD0D3329C502}" type="presParOf" srcId="{76652291-E4AA-4C2D-B80C-864FE34A0241}" destId="{4C018EF4-AE10-4A6E-91A6-8E2EAF1A7AE5}" srcOrd="16" destOrd="0" presId="urn:microsoft.com/office/officeart/2009/3/layout/PieProcess"/>
    <dgm:cxn modelId="{E8B2033E-7FE9-4052-9BA5-EC00163F63DD}" type="presParOf" srcId="{4C018EF4-AE10-4A6E-91A6-8E2EAF1A7AE5}" destId="{60625F9E-4577-426F-B816-EB25F4FC379F}" srcOrd="0" destOrd="0" presId="urn:microsoft.com/office/officeart/2009/3/layout/PieProcess"/>
    <dgm:cxn modelId="{0834666F-13D6-4282-A8AB-0BDBB248B8E3}" type="presParOf" srcId="{4C018EF4-AE10-4A6E-91A6-8E2EAF1A7AE5}" destId="{86E77255-9947-4915-AA77-90C0B18DEB79}" srcOrd="1" destOrd="0" presId="urn:microsoft.com/office/officeart/2009/3/layout/PieProcess"/>
    <dgm:cxn modelId="{48F6B7FC-8014-4670-B2B0-B5727CEF6580}" type="presParOf" srcId="{4C018EF4-AE10-4A6E-91A6-8E2EAF1A7AE5}" destId="{C76EE90B-2719-4CE0-B9C7-2FDFC26685C7}" srcOrd="2" destOrd="0" presId="urn:microsoft.com/office/officeart/2009/3/layout/PieProcess"/>
    <dgm:cxn modelId="{325851B6-B9EA-4457-A8BB-D44AD0BD3F34}" type="presParOf" srcId="{76652291-E4AA-4C2D-B80C-864FE34A0241}" destId="{32581CC0-4B17-47EC-AC0F-4F1E929BCBAD}" srcOrd="17" destOrd="0" presId="urn:microsoft.com/office/officeart/2009/3/layout/PieProcess"/>
    <dgm:cxn modelId="{9A5A94EE-E755-4484-BC2D-113249CF0242}" type="presParOf" srcId="{76652291-E4AA-4C2D-B80C-864FE34A0241}" destId="{10A2AF5F-545A-42C0-8F9E-BBB57DAFBCC5}" srcOrd="18" destOrd="0" presId="urn:microsoft.com/office/officeart/2009/3/layout/PieProcess"/>
    <dgm:cxn modelId="{F5868D88-CF0D-4558-9C9C-2ECB1124F087}" type="presParOf" srcId="{10A2AF5F-545A-42C0-8F9E-BBB57DAFBCC5}" destId="{8EE391ED-2FBD-49BB-8E03-B4BFE091C228}" srcOrd="0" destOrd="0" presId="urn:microsoft.com/office/officeart/2009/3/layout/Pie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DC6F170-DBFB-4F33-B79F-F034828189B6}" type="doc">
      <dgm:prSet loTypeId="urn:microsoft.com/office/officeart/2009/3/layout/Pie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8FAFE053-FC0C-4A46-9E52-BED9B8D455E7}">
      <dgm:prSet phldrT="[Texto]" custT="1"/>
      <dgm:spPr/>
      <dgm:t>
        <a:bodyPr/>
        <a:lstStyle/>
        <a:p>
          <a:r>
            <a:rPr lang="pt-BR" sz="2400" dirty="0" smtClean="0"/>
            <a:t>60 dias</a:t>
          </a:r>
          <a:endParaRPr lang="pt-BR" sz="2400" dirty="0"/>
        </a:p>
      </dgm:t>
    </dgm:pt>
    <dgm:pt modelId="{1AEFD4C9-AEE3-4D65-BA63-3DF4D943A2D3}" type="parTrans" cxnId="{E90E71F3-A0C9-4F22-8096-79D3F7CC3F17}">
      <dgm:prSet/>
      <dgm:spPr/>
      <dgm:t>
        <a:bodyPr/>
        <a:lstStyle/>
        <a:p>
          <a:endParaRPr lang="pt-BR"/>
        </a:p>
      </dgm:t>
    </dgm:pt>
    <dgm:pt modelId="{9CF6D168-7573-4DE8-89AF-2E59DD550400}" type="sibTrans" cxnId="{E90E71F3-A0C9-4F22-8096-79D3F7CC3F17}">
      <dgm:prSet/>
      <dgm:spPr/>
      <dgm:t>
        <a:bodyPr/>
        <a:lstStyle/>
        <a:p>
          <a:endParaRPr lang="pt-BR"/>
        </a:p>
      </dgm:t>
    </dgm:pt>
    <dgm:pt modelId="{B28BED29-992C-42A4-82F4-D81AA3698E81}">
      <dgm:prSet phldrT="[Texto]" custT="1"/>
      <dgm:spPr/>
      <dgm:t>
        <a:bodyPr/>
        <a:lstStyle/>
        <a:p>
          <a:r>
            <a:rPr lang="pt-BR" sz="1600" dirty="0" smtClean="0"/>
            <a:t>Fraude LDI e Roaming</a:t>
          </a:r>
          <a:endParaRPr lang="pt-BR" sz="1600" dirty="0"/>
        </a:p>
      </dgm:t>
    </dgm:pt>
    <dgm:pt modelId="{F07B2647-E857-4F3A-BB1A-88B4C607C9C8}" type="parTrans" cxnId="{DDE09AC0-FBF9-45F2-93F2-0713E568D204}">
      <dgm:prSet/>
      <dgm:spPr/>
      <dgm:t>
        <a:bodyPr/>
        <a:lstStyle/>
        <a:p>
          <a:endParaRPr lang="pt-BR"/>
        </a:p>
      </dgm:t>
    </dgm:pt>
    <dgm:pt modelId="{59B584B5-43B6-4313-9D56-20593998B76A}" type="sibTrans" cxnId="{DDE09AC0-FBF9-45F2-93F2-0713E568D204}">
      <dgm:prSet/>
      <dgm:spPr/>
      <dgm:t>
        <a:bodyPr/>
        <a:lstStyle/>
        <a:p>
          <a:endParaRPr lang="pt-BR"/>
        </a:p>
      </dgm:t>
    </dgm:pt>
    <dgm:pt modelId="{3F589A5D-3556-40EE-8A96-181A10CAC4C3}">
      <dgm:prSet phldrT="[Texto]" custT="1"/>
      <dgm:spPr/>
      <dgm:t>
        <a:bodyPr/>
        <a:lstStyle/>
        <a:p>
          <a:r>
            <a:rPr lang="pt-BR" sz="2400" dirty="0" smtClean="0"/>
            <a:t>30</a:t>
          </a:r>
          <a:r>
            <a:rPr lang="pt-BR" sz="2400" baseline="0" dirty="0" smtClean="0"/>
            <a:t> dias</a:t>
          </a:r>
          <a:endParaRPr lang="pt-BR" sz="2400" dirty="0"/>
        </a:p>
      </dgm:t>
    </dgm:pt>
    <dgm:pt modelId="{35887F9B-2F4A-4529-AFA1-21B15CC1623D}" type="parTrans" cxnId="{F796E42F-524C-4E2D-9D9F-25EF52EEC852}">
      <dgm:prSet/>
      <dgm:spPr/>
      <dgm:t>
        <a:bodyPr/>
        <a:lstStyle/>
        <a:p>
          <a:endParaRPr lang="pt-BR"/>
        </a:p>
      </dgm:t>
    </dgm:pt>
    <dgm:pt modelId="{0D7DACC3-5676-466C-80D0-B97BA252D2D8}" type="sibTrans" cxnId="{F796E42F-524C-4E2D-9D9F-25EF52EEC852}">
      <dgm:prSet/>
      <dgm:spPr/>
      <dgm:t>
        <a:bodyPr/>
        <a:lstStyle/>
        <a:p>
          <a:endParaRPr lang="pt-BR"/>
        </a:p>
      </dgm:t>
    </dgm:pt>
    <dgm:pt modelId="{DCEAB9D1-704E-4173-915D-04B4B83591CE}">
      <dgm:prSet phldrT="[Texto]" custT="1"/>
      <dgm:spPr/>
      <dgm:t>
        <a:bodyPr/>
        <a:lstStyle/>
        <a:p>
          <a:r>
            <a:rPr lang="pt-BR" sz="1600" dirty="0" smtClean="0"/>
            <a:t>Spam de SMS e </a:t>
          </a:r>
          <a:r>
            <a:rPr lang="pt-BR" sz="1600" dirty="0" err="1" smtClean="0"/>
            <a:t>Bypass</a:t>
          </a:r>
          <a:endParaRPr lang="pt-BR" sz="1600" dirty="0"/>
        </a:p>
      </dgm:t>
    </dgm:pt>
    <dgm:pt modelId="{1B3128EB-FC82-483F-AB68-51459EC64EF0}" type="parTrans" cxnId="{F57E3D36-EC5E-44FC-86D2-0A551E656C90}">
      <dgm:prSet/>
      <dgm:spPr/>
      <dgm:t>
        <a:bodyPr/>
        <a:lstStyle/>
        <a:p>
          <a:endParaRPr lang="pt-BR"/>
        </a:p>
      </dgm:t>
    </dgm:pt>
    <dgm:pt modelId="{911E6C31-C804-4641-A2FB-F403F737325D}" type="sibTrans" cxnId="{F57E3D36-EC5E-44FC-86D2-0A551E656C90}">
      <dgm:prSet/>
      <dgm:spPr/>
      <dgm:t>
        <a:bodyPr/>
        <a:lstStyle/>
        <a:p>
          <a:endParaRPr lang="pt-BR"/>
        </a:p>
      </dgm:t>
    </dgm:pt>
    <dgm:pt modelId="{ADD95561-BA3E-487F-AC50-38621C480D68}">
      <dgm:prSet phldrT="[Texto]" custT="1"/>
      <dgm:spPr/>
      <dgm:t>
        <a:bodyPr/>
        <a:lstStyle/>
        <a:p>
          <a:r>
            <a:rPr lang="pt-BR" sz="2400" dirty="0" smtClean="0"/>
            <a:t>110 dias</a:t>
          </a:r>
        </a:p>
      </dgm:t>
    </dgm:pt>
    <dgm:pt modelId="{EBBA3C6D-5699-4729-8900-C49A33AF5303}" type="parTrans" cxnId="{33BA5587-2532-4871-836F-32C5A66C4B7E}">
      <dgm:prSet/>
      <dgm:spPr/>
      <dgm:t>
        <a:bodyPr/>
        <a:lstStyle/>
        <a:p>
          <a:endParaRPr lang="pt-BR"/>
        </a:p>
      </dgm:t>
    </dgm:pt>
    <dgm:pt modelId="{9C5F35CF-02E6-432A-ADB5-A0EA5E80556C}" type="sibTrans" cxnId="{33BA5587-2532-4871-836F-32C5A66C4B7E}">
      <dgm:prSet/>
      <dgm:spPr/>
      <dgm:t>
        <a:bodyPr/>
        <a:lstStyle/>
        <a:p>
          <a:endParaRPr lang="pt-BR"/>
        </a:p>
      </dgm:t>
    </dgm:pt>
    <dgm:pt modelId="{6AE4115B-6E27-4E83-8398-7ED71F73CB7C}">
      <dgm:prSet phldrT="[Texto]" custT="1"/>
      <dgm:spPr/>
      <dgm:t>
        <a:bodyPr/>
        <a:lstStyle/>
        <a:p>
          <a:r>
            <a:rPr lang="pt-BR" sz="1200" dirty="0" smtClean="0"/>
            <a:t>- Tráfegos com maior Perda</a:t>
          </a:r>
          <a:endParaRPr lang="pt-BR" sz="1200" dirty="0"/>
        </a:p>
      </dgm:t>
    </dgm:pt>
    <dgm:pt modelId="{72A91A64-386D-49E8-9AC5-CE5BC7B2E49B}" type="parTrans" cxnId="{49286359-64D3-4EB5-9424-5E9DFE2F44D4}">
      <dgm:prSet/>
      <dgm:spPr/>
      <dgm:t>
        <a:bodyPr/>
        <a:lstStyle/>
        <a:p>
          <a:endParaRPr lang="pt-BR"/>
        </a:p>
      </dgm:t>
    </dgm:pt>
    <dgm:pt modelId="{58477A67-6F96-4512-BCD0-D71DEA89D7CA}" type="sibTrans" cxnId="{49286359-64D3-4EB5-9424-5E9DFE2F44D4}">
      <dgm:prSet/>
      <dgm:spPr/>
      <dgm:t>
        <a:bodyPr/>
        <a:lstStyle/>
        <a:p>
          <a:endParaRPr lang="pt-BR"/>
        </a:p>
      </dgm:t>
    </dgm:pt>
    <dgm:pt modelId="{5DF2B578-1422-4792-9F81-AEE0752F247A}">
      <dgm:prSet phldrT="[Texto]" custT="1"/>
      <dgm:spPr/>
      <dgm:t>
        <a:bodyPr/>
        <a:lstStyle/>
        <a:p>
          <a:endParaRPr lang="pt-BR" sz="1200" dirty="0"/>
        </a:p>
      </dgm:t>
    </dgm:pt>
    <dgm:pt modelId="{BB1A0697-3A1C-4F74-8BC1-FF01B9028793}" type="parTrans" cxnId="{4F22A96D-E7D6-477D-99BB-419226778B9C}">
      <dgm:prSet/>
      <dgm:spPr/>
      <dgm:t>
        <a:bodyPr/>
        <a:lstStyle/>
        <a:p>
          <a:endParaRPr lang="pt-BR"/>
        </a:p>
      </dgm:t>
    </dgm:pt>
    <dgm:pt modelId="{1F6838B6-429A-4ED3-A9BA-B6700E6374F9}" type="sibTrans" cxnId="{4F22A96D-E7D6-477D-99BB-419226778B9C}">
      <dgm:prSet/>
      <dgm:spPr/>
      <dgm:t>
        <a:bodyPr/>
        <a:lstStyle/>
        <a:p>
          <a:endParaRPr lang="pt-BR"/>
        </a:p>
      </dgm:t>
    </dgm:pt>
    <dgm:pt modelId="{5A5F7E99-B102-4650-8976-CA1373FC1B52}">
      <dgm:prSet phldrT="[Texto]" custT="1"/>
      <dgm:spPr/>
      <dgm:t>
        <a:bodyPr/>
        <a:lstStyle/>
        <a:p>
          <a:r>
            <a:rPr lang="pt-BR" sz="1600" dirty="0" smtClean="0"/>
            <a:t>Detecção Fraude Subscrição</a:t>
          </a:r>
        </a:p>
      </dgm:t>
    </dgm:pt>
    <dgm:pt modelId="{825C5538-9088-495E-A653-C6A6A1FBF1D8}" type="parTrans" cxnId="{3AD4A2CE-90AE-480E-BDEC-3104ED658908}">
      <dgm:prSet/>
      <dgm:spPr/>
      <dgm:t>
        <a:bodyPr/>
        <a:lstStyle/>
        <a:p>
          <a:endParaRPr lang="pt-BR"/>
        </a:p>
      </dgm:t>
    </dgm:pt>
    <dgm:pt modelId="{0CC4C5C4-A780-43A8-A30D-93F968ACCF2D}" type="sibTrans" cxnId="{3AD4A2CE-90AE-480E-BDEC-3104ED658908}">
      <dgm:prSet/>
      <dgm:spPr/>
      <dgm:t>
        <a:bodyPr/>
        <a:lstStyle/>
        <a:p>
          <a:endParaRPr lang="pt-BR"/>
        </a:p>
      </dgm:t>
    </dgm:pt>
    <dgm:pt modelId="{8EFCD6E1-131E-4625-A3F0-BCCFD1417A57}">
      <dgm:prSet phldrT="[Texto]" custT="1"/>
      <dgm:spPr/>
      <dgm:t>
        <a:bodyPr/>
        <a:lstStyle/>
        <a:p>
          <a:r>
            <a:rPr lang="pt-BR" sz="1100" dirty="0" smtClean="0"/>
            <a:t>- Incluindo alarmes de Tráfego Voz Fixa e Móvel</a:t>
          </a:r>
        </a:p>
      </dgm:t>
    </dgm:pt>
    <dgm:pt modelId="{BE1F8E5E-F521-4CC1-811C-DD541DA1B3D8}" type="parTrans" cxnId="{ADA01CD2-1311-41F5-9402-F2C2051BEE6E}">
      <dgm:prSet/>
      <dgm:spPr/>
      <dgm:t>
        <a:bodyPr/>
        <a:lstStyle/>
        <a:p>
          <a:endParaRPr lang="pt-BR"/>
        </a:p>
      </dgm:t>
    </dgm:pt>
    <dgm:pt modelId="{ABA0FBBF-F02C-4E85-9235-165128F0F83C}" type="sibTrans" cxnId="{ADA01CD2-1311-41F5-9402-F2C2051BEE6E}">
      <dgm:prSet/>
      <dgm:spPr/>
      <dgm:t>
        <a:bodyPr/>
        <a:lstStyle/>
        <a:p>
          <a:endParaRPr lang="pt-BR"/>
        </a:p>
      </dgm:t>
    </dgm:pt>
    <dgm:pt modelId="{87D28394-FD26-42DA-A862-5144CFA366DD}">
      <dgm:prSet phldrT="[Texto]" custT="1"/>
      <dgm:spPr/>
      <dgm:t>
        <a:bodyPr/>
        <a:lstStyle/>
        <a:p>
          <a:r>
            <a:rPr lang="pt-BR" sz="2400" dirty="0" smtClean="0"/>
            <a:t>15 dias</a:t>
          </a:r>
        </a:p>
      </dgm:t>
    </dgm:pt>
    <dgm:pt modelId="{777BFFE7-15AA-43FB-B1E7-4BEC65A622AE}" type="parTrans" cxnId="{E5FD96BB-BE5C-4439-AD97-F13DB9DE2809}">
      <dgm:prSet/>
      <dgm:spPr/>
      <dgm:t>
        <a:bodyPr/>
        <a:lstStyle/>
        <a:p>
          <a:endParaRPr lang="pt-BR"/>
        </a:p>
      </dgm:t>
    </dgm:pt>
    <dgm:pt modelId="{1D9DFDA3-B237-4CC2-B8B5-AF72F1EF4268}" type="sibTrans" cxnId="{E5FD96BB-BE5C-4439-AD97-F13DB9DE2809}">
      <dgm:prSet/>
      <dgm:spPr/>
      <dgm:t>
        <a:bodyPr/>
        <a:lstStyle/>
        <a:p>
          <a:endParaRPr lang="pt-BR"/>
        </a:p>
      </dgm:t>
    </dgm:pt>
    <dgm:pt modelId="{CC6A96C8-7B07-427C-913F-2CAC023C84FA}">
      <dgm:prSet phldrT="[Texto]" custT="1"/>
      <dgm:spPr/>
      <dgm:t>
        <a:bodyPr/>
        <a:lstStyle/>
        <a:p>
          <a:r>
            <a:rPr lang="pt-BR" sz="1600" dirty="0" smtClean="0"/>
            <a:t>Alarmes Recarga </a:t>
          </a:r>
          <a:r>
            <a:rPr lang="pt-BR" sz="1600" dirty="0" err="1" smtClean="0"/>
            <a:t>Pre-Pago</a:t>
          </a:r>
          <a:endParaRPr lang="pt-BR" sz="1600" dirty="0" smtClean="0"/>
        </a:p>
      </dgm:t>
    </dgm:pt>
    <dgm:pt modelId="{12935E15-1A3A-4184-BBE9-266BF747313F}" type="parTrans" cxnId="{27C7A59E-3E7F-452C-9E8C-982FE7DD7F37}">
      <dgm:prSet/>
      <dgm:spPr/>
      <dgm:t>
        <a:bodyPr/>
        <a:lstStyle/>
        <a:p>
          <a:endParaRPr lang="pt-BR"/>
        </a:p>
      </dgm:t>
    </dgm:pt>
    <dgm:pt modelId="{F6CE055D-34B9-451C-BABD-62FB52F54B2A}" type="sibTrans" cxnId="{27C7A59E-3E7F-452C-9E8C-982FE7DD7F37}">
      <dgm:prSet/>
      <dgm:spPr/>
      <dgm:t>
        <a:bodyPr/>
        <a:lstStyle/>
        <a:p>
          <a:endParaRPr lang="pt-BR"/>
        </a:p>
      </dgm:t>
    </dgm:pt>
    <dgm:pt modelId="{E363AA2A-E285-4EFC-8667-6CB4283D0773}">
      <dgm:prSet phldrT="[Texto]" custT="1"/>
      <dgm:spPr/>
      <dgm:t>
        <a:bodyPr/>
        <a:lstStyle/>
        <a:p>
          <a:r>
            <a:rPr lang="pt-BR" sz="2400" dirty="0" smtClean="0"/>
            <a:t>45 dias</a:t>
          </a:r>
          <a:r>
            <a:rPr lang="pt-BR" sz="1200" dirty="0" smtClean="0"/>
            <a:t> </a:t>
          </a:r>
        </a:p>
      </dgm:t>
    </dgm:pt>
    <dgm:pt modelId="{F4ABDA9A-E5F4-4BDD-B367-97F5BFFCE7CD}" type="parTrans" cxnId="{A4D84BE2-3964-45C6-8637-CBBB4C378599}">
      <dgm:prSet/>
      <dgm:spPr/>
      <dgm:t>
        <a:bodyPr/>
        <a:lstStyle/>
        <a:p>
          <a:endParaRPr lang="pt-BR"/>
        </a:p>
      </dgm:t>
    </dgm:pt>
    <dgm:pt modelId="{14D5CBBA-012C-4026-9F79-5FB9D2836E9C}" type="sibTrans" cxnId="{A4D84BE2-3964-45C6-8637-CBBB4C378599}">
      <dgm:prSet/>
      <dgm:spPr/>
      <dgm:t>
        <a:bodyPr/>
        <a:lstStyle/>
        <a:p>
          <a:endParaRPr lang="pt-BR"/>
        </a:p>
      </dgm:t>
    </dgm:pt>
    <dgm:pt modelId="{6E09686C-0B65-403B-8E61-EE95BC2F2D20}">
      <dgm:prSet phldrT="[Texto]" custT="1"/>
      <dgm:spPr/>
      <dgm:t>
        <a:bodyPr/>
        <a:lstStyle/>
        <a:p>
          <a:r>
            <a:rPr lang="pt-BR" sz="1600" dirty="0" smtClean="0"/>
            <a:t>Criação de telas operação Detecção</a:t>
          </a:r>
        </a:p>
        <a:p>
          <a:r>
            <a:rPr lang="pt-BR" sz="1200" dirty="0" smtClean="0"/>
            <a:t>- Criação das telas flexíveis  </a:t>
          </a:r>
        </a:p>
      </dgm:t>
    </dgm:pt>
    <dgm:pt modelId="{F30D2116-6630-4FE2-BD4B-3873882F5E58}" type="parTrans" cxnId="{268AA039-BECB-44F4-8BBA-660DA3AF0FAA}">
      <dgm:prSet/>
      <dgm:spPr/>
      <dgm:t>
        <a:bodyPr/>
        <a:lstStyle/>
        <a:p>
          <a:endParaRPr lang="pt-BR"/>
        </a:p>
      </dgm:t>
    </dgm:pt>
    <dgm:pt modelId="{2E62DFEA-B663-4318-B045-CCDBBF9056FA}" type="sibTrans" cxnId="{268AA039-BECB-44F4-8BBA-660DA3AF0FAA}">
      <dgm:prSet/>
      <dgm:spPr/>
      <dgm:t>
        <a:bodyPr/>
        <a:lstStyle/>
        <a:p>
          <a:endParaRPr lang="pt-BR"/>
        </a:p>
      </dgm:t>
    </dgm:pt>
    <dgm:pt modelId="{A8132677-F19B-40F5-9E47-D9708C8F4A99}">
      <dgm:prSet phldrT="[Texto]" custT="1"/>
      <dgm:spPr/>
      <dgm:t>
        <a:bodyPr/>
        <a:lstStyle/>
        <a:p>
          <a:r>
            <a:rPr lang="pt-BR" sz="2400" dirty="0" smtClean="0"/>
            <a:t>75 dias</a:t>
          </a:r>
        </a:p>
      </dgm:t>
    </dgm:pt>
    <dgm:pt modelId="{FC8A762D-EA02-4990-B602-98254B2ED0BE}" type="parTrans" cxnId="{066ACFD8-5FAC-4FE8-A851-B873AB8B744A}">
      <dgm:prSet/>
      <dgm:spPr/>
      <dgm:t>
        <a:bodyPr/>
        <a:lstStyle/>
        <a:p>
          <a:endParaRPr lang="pt-BR"/>
        </a:p>
      </dgm:t>
    </dgm:pt>
    <dgm:pt modelId="{2E32C447-24F2-4315-A860-40BA5A1D46B5}" type="sibTrans" cxnId="{066ACFD8-5FAC-4FE8-A851-B873AB8B744A}">
      <dgm:prSet/>
      <dgm:spPr/>
      <dgm:t>
        <a:bodyPr/>
        <a:lstStyle/>
        <a:p>
          <a:endParaRPr lang="pt-BR"/>
        </a:p>
      </dgm:t>
    </dgm:pt>
    <dgm:pt modelId="{2BE926EA-50FE-4224-954D-4BF8209CDE13}">
      <dgm:prSet phldrT="[Texto]" custT="1"/>
      <dgm:spPr/>
      <dgm:t>
        <a:bodyPr/>
        <a:lstStyle/>
        <a:p>
          <a:r>
            <a:rPr lang="pt-BR" sz="1600" dirty="0" smtClean="0"/>
            <a:t>Pós-tratamento das fraudes</a:t>
          </a:r>
        </a:p>
      </dgm:t>
    </dgm:pt>
    <dgm:pt modelId="{91435B90-A782-4B58-B2DB-53D7A7E41D1D}" type="parTrans" cxnId="{BF08D8E3-6EE9-4F15-9AF5-E7CDFEF9881A}">
      <dgm:prSet/>
      <dgm:spPr/>
      <dgm:t>
        <a:bodyPr/>
        <a:lstStyle/>
        <a:p>
          <a:endParaRPr lang="pt-BR"/>
        </a:p>
      </dgm:t>
    </dgm:pt>
    <dgm:pt modelId="{000EC681-9DD9-4BFC-9355-B1EEB39D0404}" type="sibTrans" cxnId="{BF08D8E3-6EE9-4F15-9AF5-E7CDFEF9881A}">
      <dgm:prSet/>
      <dgm:spPr/>
      <dgm:t>
        <a:bodyPr/>
        <a:lstStyle/>
        <a:p>
          <a:endParaRPr lang="pt-BR"/>
        </a:p>
      </dgm:t>
    </dgm:pt>
    <dgm:pt modelId="{AF0CE2DF-0107-4571-BDD7-291FB178D3FB}">
      <dgm:prSet phldrT="[Texto]" custT="1"/>
      <dgm:spPr/>
      <dgm:t>
        <a:bodyPr/>
        <a:lstStyle/>
        <a:p>
          <a:r>
            <a:rPr lang="pt-BR" sz="1000" dirty="0" smtClean="0"/>
            <a:t>- NOBILL, Isenção de Cobrança, Cancelamento de </a:t>
          </a:r>
          <a:r>
            <a:rPr lang="pt-BR" sz="1000" dirty="0" err="1" smtClean="0"/>
            <a:t>faturas,etc</a:t>
          </a:r>
          <a:r>
            <a:rPr lang="pt-BR" sz="1200" dirty="0" smtClean="0"/>
            <a:t>.</a:t>
          </a:r>
        </a:p>
      </dgm:t>
    </dgm:pt>
    <dgm:pt modelId="{4B2E6BE3-7923-473F-B786-9F7525962671}" type="parTrans" cxnId="{A28CECAA-60DF-4C39-B16E-1431317D0511}">
      <dgm:prSet/>
      <dgm:spPr/>
      <dgm:t>
        <a:bodyPr/>
        <a:lstStyle/>
        <a:p>
          <a:endParaRPr lang="pt-BR"/>
        </a:p>
      </dgm:t>
    </dgm:pt>
    <dgm:pt modelId="{01F8B25B-BD3B-4DD1-8154-10E09737330B}" type="sibTrans" cxnId="{A28CECAA-60DF-4C39-B16E-1431317D0511}">
      <dgm:prSet/>
      <dgm:spPr/>
      <dgm:t>
        <a:bodyPr/>
        <a:lstStyle/>
        <a:p>
          <a:endParaRPr lang="pt-BR"/>
        </a:p>
      </dgm:t>
    </dgm:pt>
    <dgm:pt modelId="{76652291-E4AA-4C2D-B80C-864FE34A0241}" type="pres">
      <dgm:prSet presAssocID="{9DC6F170-DBFB-4F33-B79F-F034828189B6}" presName="Name0" presStyleCnt="0">
        <dgm:presLayoutVars>
          <dgm:chMax val="7"/>
          <dgm:chPref val="7"/>
          <dgm:dir/>
          <dgm:animOne val="branch"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3A664929-1D5C-45B2-BCED-2729DB98FE9F}" type="pres">
      <dgm:prSet presAssocID="{8FAFE053-FC0C-4A46-9E52-BED9B8D455E7}" presName="ParentComposite" presStyleCnt="0"/>
      <dgm:spPr/>
    </dgm:pt>
    <dgm:pt modelId="{9EB4E357-18EB-42DA-A323-467A24E1DFCE}" type="pres">
      <dgm:prSet presAssocID="{8FAFE053-FC0C-4A46-9E52-BED9B8D455E7}" presName="Chord" presStyleLbl="bgShp" presStyleIdx="0" presStyleCnt="6"/>
      <dgm:spPr/>
    </dgm:pt>
    <dgm:pt modelId="{3BB23E9D-6ECD-4B91-AD70-DD9D0437677A}" type="pres">
      <dgm:prSet presAssocID="{8FAFE053-FC0C-4A46-9E52-BED9B8D455E7}" presName="Pie" presStyleLbl="alignNode1" presStyleIdx="0" presStyleCnt="6"/>
      <dgm:spPr/>
    </dgm:pt>
    <dgm:pt modelId="{B4701ED1-B2F1-4641-9861-2E31BE989A63}" type="pres">
      <dgm:prSet presAssocID="{8FAFE053-FC0C-4A46-9E52-BED9B8D455E7}" presName="Parent" presStyleLbl="revTx" presStyleIdx="0" presStyleCnt="1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3E60413-A71F-4F93-80DB-6202163F721B}" type="pres">
      <dgm:prSet presAssocID="{59B584B5-43B6-4313-9D56-20593998B76A}" presName="negSibTrans" presStyleCnt="0"/>
      <dgm:spPr/>
    </dgm:pt>
    <dgm:pt modelId="{A988E576-9D44-4FA2-AD06-795A2E33DCBA}" type="pres">
      <dgm:prSet presAssocID="{8FAFE053-FC0C-4A46-9E52-BED9B8D455E7}" presName="composite" presStyleCnt="0"/>
      <dgm:spPr/>
    </dgm:pt>
    <dgm:pt modelId="{BDA2D086-CA92-4661-8F48-6A9E861575AD}" type="pres">
      <dgm:prSet presAssocID="{8FAFE053-FC0C-4A46-9E52-BED9B8D455E7}" presName="Child" presStyleLbl="revTx" presStyleIdx="1" presStyleCnt="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CCA61AC-3454-486F-9139-F4D90A195270}" type="pres">
      <dgm:prSet presAssocID="{9CF6D168-7573-4DE8-89AF-2E59DD550400}" presName="sibTrans" presStyleCnt="0"/>
      <dgm:spPr/>
    </dgm:pt>
    <dgm:pt modelId="{90ED2031-36C4-4398-84B6-E77EDB00333F}" type="pres">
      <dgm:prSet presAssocID="{3F589A5D-3556-40EE-8A96-181A10CAC4C3}" presName="ParentComposite" presStyleCnt="0"/>
      <dgm:spPr/>
    </dgm:pt>
    <dgm:pt modelId="{91B40E70-EC36-4D5A-833E-E138F26AF749}" type="pres">
      <dgm:prSet presAssocID="{3F589A5D-3556-40EE-8A96-181A10CAC4C3}" presName="Chord" presStyleLbl="bgShp" presStyleIdx="1" presStyleCnt="6"/>
      <dgm:spPr/>
    </dgm:pt>
    <dgm:pt modelId="{5D79983A-F60F-41EB-8989-CC5D6CE70EF6}" type="pres">
      <dgm:prSet presAssocID="{3F589A5D-3556-40EE-8A96-181A10CAC4C3}" presName="Pie" presStyleLbl="alignNode1" presStyleIdx="1" presStyleCnt="6"/>
      <dgm:spPr/>
    </dgm:pt>
    <dgm:pt modelId="{425CAEFE-E40B-4562-AD54-7C69A49B2DBF}" type="pres">
      <dgm:prSet presAssocID="{3F589A5D-3556-40EE-8A96-181A10CAC4C3}" presName="Parent" presStyleLbl="revTx" presStyleIdx="2" presStyleCnt="1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031066C-AC06-4A2A-A3E5-4F925B2BFB8B}" type="pres">
      <dgm:prSet presAssocID="{911E6C31-C804-4641-A2FB-F403F737325D}" presName="negSibTrans" presStyleCnt="0"/>
      <dgm:spPr/>
    </dgm:pt>
    <dgm:pt modelId="{9415DEB9-6D73-4FA9-840A-006A87F352E1}" type="pres">
      <dgm:prSet presAssocID="{3F589A5D-3556-40EE-8A96-181A10CAC4C3}" presName="composite" presStyleCnt="0"/>
      <dgm:spPr/>
    </dgm:pt>
    <dgm:pt modelId="{F1BF70C7-85F7-4143-9415-D0FFA879C43D}" type="pres">
      <dgm:prSet presAssocID="{3F589A5D-3556-40EE-8A96-181A10CAC4C3}" presName="Child" presStyleLbl="revTx" presStyleIdx="3" presStyleCnt="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77899E0-5F36-43E7-A034-42354640749A}" type="pres">
      <dgm:prSet presAssocID="{0D7DACC3-5676-466C-80D0-B97BA252D2D8}" presName="sibTrans" presStyleCnt="0"/>
      <dgm:spPr/>
    </dgm:pt>
    <dgm:pt modelId="{04C82714-A5F8-40B7-A883-10ABFA1B3EC0}" type="pres">
      <dgm:prSet presAssocID="{ADD95561-BA3E-487F-AC50-38621C480D68}" presName="ParentComposite" presStyleCnt="0"/>
      <dgm:spPr/>
    </dgm:pt>
    <dgm:pt modelId="{39056821-3F7A-4EC8-B089-05AF71C6A6BF}" type="pres">
      <dgm:prSet presAssocID="{ADD95561-BA3E-487F-AC50-38621C480D68}" presName="Chord" presStyleLbl="bgShp" presStyleIdx="2" presStyleCnt="6"/>
      <dgm:spPr/>
    </dgm:pt>
    <dgm:pt modelId="{258207C9-4855-4352-92C7-46C824CAA2F3}" type="pres">
      <dgm:prSet presAssocID="{ADD95561-BA3E-487F-AC50-38621C480D68}" presName="Pie" presStyleLbl="alignNode1" presStyleIdx="2" presStyleCnt="6"/>
      <dgm:spPr/>
    </dgm:pt>
    <dgm:pt modelId="{935E3ED7-2857-43B7-BAA7-62585A9DB746}" type="pres">
      <dgm:prSet presAssocID="{ADD95561-BA3E-487F-AC50-38621C480D68}" presName="Parent" presStyleLbl="revTx" presStyleIdx="4" presStyleCnt="1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6565184-54E4-48F6-A7DC-5E9820458508}" type="pres">
      <dgm:prSet presAssocID="{0CC4C5C4-A780-43A8-A30D-93F968ACCF2D}" presName="negSibTrans" presStyleCnt="0"/>
      <dgm:spPr/>
    </dgm:pt>
    <dgm:pt modelId="{7872DDF1-4A2E-47A1-8231-2D1D66576D26}" type="pres">
      <dgm:prSet presAssocID="{ADD95561-BA3E-487F-AC50-38621C480D68}" presName="composite" presStyleCnt="0"/>
      <dgm:spPr/>
    </dgm:pt>
    <dgm:pt modelId="{5DA42535-160F-4FCD-AA6C-47FD5B32A8BB}" type="pres">
      <dgm:prSet presAssocID="{ADD95561-BA3E-487F-AC50-38621C480D68}" presName="Child" presStyleLbl="revTx" presStyleIdx="5" presStyleCnt="12" custScaleX="12713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10CDB25-A98D-49EF-BE0F-C95F27BDC4BD}" type="pres">
      <dgm:prSet presAssocID="{9C5F35CF-02E6-432A-ADB5-A0EA5E80556C}" presName="sibTrans" presStyleCnt="0"/>
      <dgm:spPr/>
    </dgm:pt>
    <dgm:pt modelId="{A74136DA-B376-4DC3-B211-21D0924C07DF}" type="pres">
      <dgm:prSet presAssocID="{87D28394-FD26-42DA-A862-5144CFA366DD}" presName="ParentComposite" presStyleCnt="0"/>
      <dgm:spPr/>
    </dgm:pt>
    <dgm:pt modelId="{2F1B927A-397B-41C5-9438-9811BAF38C12}" type="pres">
      <dgm:prSet presAssocID="{87D28394-FD26-42DA-A862-5144CFA366DD}" presName="Chord" presStyleLbl="bgShp" presStyleIdx="3" presStyleCnt="6"/>
      <dgm:spPr/>
    </dgm:pt>
    <dgm:pt modelId="{78899E9E-23B2-41B0-A00B-B83FEDCA3872}" type="pres">
      <dgm:prSet presAssocID="{87D28394-FD26-42DA-A862-5144CFA366DD}" presName="Pie" presStyleLbl="alignNode1" presStyleIdx="3" presStyleCnt="6"/>
      <dgm:spPr/>
    </dgm:pt>
    <dgm:pt modelId="{00743041-116D-49AB-84AE-A0890CDA6C0D}" type="pres">
      <dgm:prSet presAssocID="{87D28394-FD26-42DA-A862-5144CFA366DD}" presName="Parent" presStyleLbl="revTx" presStyleIdx="6" presStyleCnt="1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5C386A0-93D0-446C-9BA3-7258317D7498}" type="pres">
      <dgm:prSet presAssocID="{F6CE055D-34B9-451C-BABD-62FB52F54B2A}" presName="negSibTrans" presStyleCnt="0"/>
      <dgm:spPr/>
    </dgm:pt>
    <dgm:pt modelId="{A1C63EAD-40B6-49DF-AEF7-0B43981DDC82}" type="pres">
      <dgm:prSet presAssocID="{87D28394-FD26-42DA-A862-5144CFA366DD}" presName="composite" presStyleCnt="0"/>
      <dgm:spPr/>
    </dgm:pt>
    <dgm:pt modelId="{B6D0B285-713F-4CAE-BF56-6A1DEDE9DBA5}" type="pres">
      <dgm:prSet presAssocID="{87D28394-FD26-42DA-A862-5144CFA366DD}" presName="Child" presStyleLbl="revTx" presStyleIdx="7" presStyleCnt="12" custScaleX="11873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DA993C3-2A11-4323-B732-ECD0F4E79874}" type="pres">
      <dgm:prSet presAssocID="{1D9DFDA3-B237-4CC2-B8B5-AF72F1EF4268}" presName="sibTrans" presStyleCnt="0"/>
      <dgm:spPr/>
    </dgm:pt>
    <dgm:pt modelId="{4C018EF4-AE10-4A6E-91A6-8E2EAF1A7AE5}" type="pres">
      <dgm:prSet presAssocID="{E363AA2A-E285-4EFC-8667-6CB4283D0773}" presName="ParentComposite" presStyleCnt="0"/>
      <dgm:spPr/>
    </dgm:pt>
    <dgm:pt modelId="{60625F9E-4577-426F-B816-EB25F4FC379F}" type="pres">
      <dgm:prSet presAssocID="{E363AA2A-E285-4EFC-8667-6CB4283D0773}" presName="Chord" presStyleLbl="bgShp" presStyleIdx="4" presStyleCnt="6"/>
      <dgm:spPr/>
    </dgm:pt>
    <dgm:pt modelId="{86E77255-9947-4915-AA77-90C0B18DEB79}" type="pres">
      <dgm:prSet presAssocID="{E363AA2A-E285-4EFC-8667-6CB4283D0773}" presName="Pie" presStyleLbl="alignNode1" presStyleIdx="4" presStyleCnt="6"/>
      <dgm:spPr/>
    </dgm:pt>
    <dgm:pt modelId="{C76EE90B-2719-4CE0-B9C7-2FDFC26685C7}" type="pres">
      <dgm:prSet presAssocID="{E363AA2A-E285-4EFC-8667-6CB4283D0773}" presName="Parent" presStyleLbl="revTx" presStyleIdx="8" presStyleCnt="1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2581CC0-4B17-47EC-AC0F-4F1E929BCBAD}" type="pres">
      <dgm:prSet presAssocID="{2E62DFEA-B663-4318-B045-CCDBBF9056FA}" presName="negSibTrans" presStyleCnt="0"/>
      <dgm:spPr/>
    </dgm:pt>
    <dgm:pt modelId="{10A2AF5F-545A-42C0-8F9E-BBB57DAFBCC5}" type="pres">
      <dgm:prSet presAssocID="{E363AA2A-E285-4EFC-8667-6CB4283D0773}" presName="composite" presStyleCnt="0"/>
      <dgm:spPr/>
    </dgm:pt>
    <dgm:pt modelId="{8EE391ED-2FBD-49BB-8E03-B4BFE091C228}" type="pres">
      <dgm:prSet presAssocID="{E363AA2A-E285-4EFC-8667-6CB4283D0773}" presName="Child" presStyleLbl="revTx" presStyleIdx="9" presStyleCnt="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3343F49-F981-4BBC-8B6D-0BBED66AE6D7}" type="pres">
      <dgm:prSet presAssocID="{14D5CBBA-012C-4026-9F79-5FB9D2836E9C}" presName="sibTrans" presStyleCnt="0"/>
      <dgm:spPr/>
    </dgm:pt>
    <dgm:pt modelId="{D432D9DE-5005-4476-8421-73CB4779A9BF}" type="pres">
      <dgm:prSet presAssocID="{A8132677-F19B-40F5-9E47-D9708C8F4A99}" presName="ParentComposite" presStyleCnt="0"/>
      <dgm:spPr/>
    </dgm:pt>
    <dgm:pt modelId="{A23886D0-B6BE-466B-92EB-8D9F9DCE7FC7}" type="pres">
      <dgm:prSet presAssocID="{A8132677-F19B-40F5-9E47-D9708C8F4A99}" presName="Chord" presStyleLbl="bgShp" presStyleIdx="5" presStyleCnt="6"/>
      <dgm:spPr/>
    </dgm:pt>
    <dgm:pt modelId="{4DE3DAC5-2266-4CDF-809F-BB75D44472CC}" type="pres">
      <dgm:prSet presAssocID="{A8132677-F19B-40F5-9E47-D9708C8F4A99}" presName="Pie" presStyleLbl="alignNode1" presStyleIdx="5" presStyleCnt="6"/>
      <dgm:spPr/>
    </dgm:pt>
    <dgm:pt modelId="{A4AE3BF3-E6F2-499F-BDF2-FC9833AEBD48}" type="pres">
      <dgm:prSet presAssocID="{A8132677-F19B-40F5-9E47-D9708C8F4A99}" presName="Parent" presStyleLbl="revTx" presStyleIdx="10" presStyleCnt="1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245C7E-2F76-4965-9894-7C58315415AA}" type="pres">
      <dgm:prSet presAssocID="{000EC681-9DD9-4BFC-9355-B1EEB39D0404}" presName="negSibTrans" presStyleCnt="0"/>
      <dgm:spPr/>
    </dgm:pt>
    <dgm:pt modelId="{9B62C9CB-9B68-44A0-827A-85236088DFF6}" type="pres">
      <dgm:prSet presAssocID="{A8132677-F19B-40F5-9E47-D9708C8F4A99}" presName="composite" presStyleCnt="0"/>
      <dgm:spPr/>
    </dgm:pt>
    <dgm:pt modelId="{F860D00E-6336-42CE-8CB8-5C4A7F9E7A95}" type="pres">
      <dgm:prSet presAssocID="{A8132677-F19B-40F5-9E47-D9708C8F4A99}" presName="Child" presStyleLbl="revTx" presStyleIdx="11" presStyleCnt="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268AA039-BECB-44F4-8BBA-660DA3AF0FAA}" srcId="{E363AA2A-E285-4EFC-8667-6CB4283D0773}" destId="{6E09686C-0B65-403B-8E61-EE95BC2F2D20}" srcOrd="0" destOrd="0" parTransId="{F30D2116-6630-4FE2-BD4B-3873882F5E58}" sibTransId="{2E62DFEA-B663-4318-B045-CCDBBF9056FA}"/>
    <dgm:cxn modelId="{0ADAD66C-CEBC-43D9-9846-B37013E2E53F}" type="presOf" srcId="{DCEAB9D1-704E-4173-915D-04B4B83591CE}" destId="{F1BF70C7-85F7-4143-9415-D0FFA879C43D}" srcOrd="0" destOrd="0" presId="urn:microsoft.com/office/officeart/2009/3/layout/PieProcess"/>
    <dgm:cxn modelId="{49286359-64D3-4EB5-9424-5E9DFE2F44D4}" srcId="{8FAFE053-FC0C-4A46-9E52-BED9B8D455E7}" destId="{6AE4115B-6E27-4E83-8398-7ED71F73CB7C}" srcOrd="1" destOrd="0" parTransId="{72A91A64-386D-49E8-9AC5-CE5BC7B2E49B}" sibTransId="{58477A67-6F96-4512-BCD0-D71DEA89D7CA}"/>
    <dgm:cxn modelId="{E90E71F3-A0C9-4F22-8096-79D3F7CC3F17}" srcId="{9DC6F170-DBFB-4F33-B79F-F034828189B6}" destId="{8FAFE053-FC0C-4A46-9E52-BED9B8D455E7}" srcOrd="0" destOrd="0" parTransId="{1AEFD4C9-AEE3-4D65-BA63-3DF4D943A2D3}" sibTransId="{9CF6D168-7573-4DE8-89AF-2E59DD550400}"/>
    <dgm:cxn modelId="{066ACFD8-5FAC-4FE8-A851-B873AB8B744A}" srcId="{9DC6F170-DBFB-4F33-B79F-F034828189B6}" destId="{A8132677-F19B-40F5-9E47-D9708C8F4A99}" srcOrd="5" destOrd="0" parTransId="{FC8A762D-EA02-4990-B602-98254B2ED0BE}" sibTransId="{2E32C447-24F2-4315-A860-40BA5A1D46B5}"/>
    <dgm:cxn modelId="{BA604CF5-C660-44FF-9986-DDED6737F54D}" type="presOf" srcId="{ADD95561-BA3E-487F-AC50-38621C480D68}" destId="{935E3ED7-2857-43B7-BAA7-62585A9DB746}" srcOrd="0" destOrd="0" presId="urn:microsoft.com/office/officeart/2009/3/layout/PieProcess"/>
    <dgm:cxn modelId="{F12BA4CB-4F92-4E4A-96AC-BEBBC49A1CB5}" type="presOf" srcId="{8EFCD6E1-131E-4625-A3F0-BCCFD1417A57}" destId="{5DA42535-160F-4FCD-AA6C-47FD5B32A8BB}" srcOrd="0" destOrd="1" presId="urn:microsoft.com/office/officeart/2009/3/layout/PieProcess"/>
    <dgm:cxn modelId="{23F4CF0A-62F0-489D-A98A-8914D70CB956}" type="presOf" srcId="{B28BED29-992C-42A4-82F4-D81AA3698E81}" destId="{BDA2D086-CA92-4661-8F48-6A9E861575AD}" srcOrd="0" destOrd="0" presId="urn:microsoft.com/office/officeart/2009/3/layout/PieProcess"/>
    <dgm:cxn modelId="{46547B9A-59B3-4B6C-AE7F-FDF54D4D5EF1}" type="presOf" srcId="{5DF2B578-1422-4792-9F81-AEE0752F247A}" destId="{F1BF70C7-85F7-4143-9415-D0FFA879C43D}" srcOrd="0" destOrd="1" presId="urn:microsoft.com/office/officeart/2009/3/layout/PieProcess"/>
    <dgm:cxn modelId="{BF08D8E3-6EE9-4F15-9AF5-E7CDFEF9881A}" srcId="{A8132677-F19B-40F5-9E47-D9708C8F4A99}" destId="{2BE926EA-50FE-4224-954D-4BF8209CDE13}" srcOrd="0" destOrd="0" parTransId="{91435B90-A782-4B58-B2DB-53D7A7E41D1D}" sibTransId="{000EC681-9DD9-4BFC-9355-B1EEB39D0404}"/>
    <dgm:cxn modelId="{965B02B2-EC61-419A-AF6F-418DC3057BF0}" type="presOf" srcId="{AF0CE2DF-0107-4571-BDD7-291FB178D3FB}" destId="{F860D00E-6336-42CE-8CB8-5C4A7F9E7A95}" srcOrd="0" destOrd="1" presId="urn:microsoft.com/office/officeart/2009/3/layout/PieProcess"/>
    <dgm:cxn modelId="{4F22A96D-E7D6-477D-99BB-419226778B9C}" srcId="{3F589A5D-3556-40EE-8A96-181A10CAC4C3}" destId="{5DF2B578-1422-4792-9F81-AEE0752F247A}" srcOrd="1" destOrd="0" parTransId="{BB1A0697-3A1C-4F74-8BC1-FF01B9028793}" sibTransId="{1F6838B6-429A-4ED3-A9BA-B6700E6374F9}"/>
    <dgm:cxn modelId="{3AD4A2CE-90AE-480E-BDEC-3104ED658908}" srcId="{ADD95561-BA3E-487F-AC50-38621C480D68}" destId="{5A5F7E99-B102-4650-8976-CA1373FC1B52}" srcOrd="0" destOrd="0" parTransId="{825C5538-9088-495E-A653-C6A6A1FBF1D8}" sibTransId="{0CC4C5C4-A780-43A8-A30D-93F968ACCF2D}"/>
    <dgm:cxn modelId="{F796E42F-524C-4E2D-9D9F-25EF52EEC852}" srcId="{9DC6F170-DBFB-4F33-B79F-F034828189B6}" destId="{3F589A5D-3556-40EE-8A96-181A10CAC4C3}" srcOrd="1" destOrd="0" parTransId="{35887F9B-2F4A-4529-AFA1-21B15CC1623D}" sibTransId="{0D7DACC3-5676-466C-80D0-B97BA252D2D8}"/>
    <dgm:cxn modelId="{F57E3D36-EC5E-44FC-86D2-0A551E656C90}" srcId="{3F589A5D-3556-40EE-8A96-181A10CAC4C3}" destId="{DCEAB9D1-704E-4173-915D-04B4B83591CE}" srcOrd="0" destOrd="0" parTransId="{1B3128EB-FC82-483F-AB68-51459EC64EF0}" sibTransId="{911E6C31-C804-4641-A2FB-F403F737325D}"/>
    <dgm:cxn modelId="{BB8FF487-EA20-4C4B-8126-410CD6C82CB5}" type="presOf" srcId="{E363AA2A-E285-4EFC-8667-6CB4283D0773}" destId="{C76EE90B-2719-4CE0-B9C7-2FDFC26685C7}" srcOrd="0" destOrd="0" presId="urn:microsoft.com/office/officeart/2009/3/layout/PieProcess"/>
    <dgm:cxn modelId="{CDA959DF-935A-404C-B555-AC6C3D48BC55}" type="presOf" srcId="{8FAFE053-FC0C-4A46-9E52-BED9B8D455E7}" destId="{B4701ED1-B2F1-4641-9861-2E31BE989A63}" srcOrd="0" destOrd="0" presId="urn:microsoft.com/office/officeart/2009/3/layout/PieProcess"/>
    <dgm:cxn modelId="{8047E02C-CEB0-45C9-A0DD-B0E8C28FE6C8}" type="presOf" srcId="{9DC6F170-DBFB-4F33-B79F-F034828189B6}" destId="{76652291-E4AA-4C2D-B80C-864FE34A0241}" srcOrd="0" destOrd="0" presId="urn:microsoft.com/office/officeart/2009/3/layout/PieProcess"/>
    <dgm:cxn modelId="{70F9D12E-1164-4D15-B9B1-E350F869789F}" type="presOf" srcId="{2BE926EA-50FE-4224-954D-4BF8209CDE13}" destId="{F860D00E-6336-42CE-8CB8-5C4A7F9E7A95}" srcOrd="0" destOrd="0" presId="urn:microsoft.com/office/officeart/2009/3/layout/PieProcess"/>
    <dgm:cxn modelId="{AF7C4878-368B-45D4-87FE-E1500260E3DE}" type="presOf" srcId="{5A5F7E99-B102-4650-8976-CA1373FC1B52}" destId="{5DA42535-160F-4FCD-AA6C-47FD5B32A8BB}" srcOrd="0" destOrd="0" presId="urn:microsoft.com/office/officeart/2009/3/layout/PieProcess"/>
    <dgm:cxn modelId="{552854F8-C0A9-48A7-B99E-7507E0CC1434}" type="presOf" srcId="{6AE4115B-6E27-4E83-8398-7ED71F73CB7C}" destId="{BDA2D086-CA92-4661-8F48-6A9E861575AD}" srcOrd="0" destOrd="1" presId="urn:microsoft.com/office/officeart/2009/3/layout/PieProcess"/>
    <dgm:cxn modelId="{E5FD96BB-BE5C-4439-AD97-F13DB9DE2809}" srcId="{9DC6F170-DBFB-4F33-B79F-F034828189B6}" destId="{87D28394-FD26-42DA-A862-5144CFA366DD}" srcOrd="3" destOrd="0" parTransId="{777BFFE7-15AA-43FB-B1E7-4BEC65A622AE}" sibTransId="{1D9DFDA3-B237-4CC2-B8B5-AF72F1EF4268}"/>
    <dgm:cxn modelId="{97FA4D6C-BFB8-4B14-A1DF-1B6032EF6372}" type="presOf" srcId="{3F589A5D-3556-40EE-8A96-181A10CAC4C3}" destId="{425CAEFE-E40B-4562-AD54-7C69A49B2DBF}" srcOrd="0" destOrd="0" presId="urn:microsoft.com/office/officeart/2009/3/layout/PieProcess"/>
    <dgm:cxn modelId="{FD5193B8-C06E-406C-A5D5-C3A67A27EA77}" type="presOf" srcId="{CC6A96C8-7B07-427C-913F-2CAC023C84FA}" destId="{B6D0B285-713F-4CAE-BF56-6A1DEDE9DBA5}" srcOrd="0" destOrd="0" presId="urn:microsoft.com/office/officeart/2009/3/layout/PieProcess"/>
    <dgm:cxn modelId="{74E4C0D3-8D6A-4AAF-9A5B-5F880DD9CD48}" type="presOf" srcId="{87D28394-FD26-42DA-A862-5144CFA366DD}" destId="{00743041-116D-49AB-84AE-A0890CDA6C0D}" srcOrd="0" destOrd="0" presId="urn:microsoft.com/office/officeart/2009/3/layout/PieProcess"/>
    <dgm:cxn modelId="{ADA01CD2-1311-41F5-9402-F2C2051BEE6E}" srcId="{ADD95561-BA3E-487F-AC50-38621C480D68}" destId="{8EFCD6E1-131E-4625-A3F0-BCCFD1417A57}" srcOrd="1" destOrd="0" parTransId="{BE1F8E5E-F521-4CC1-811C-DD541DA1B3D8}" sibTransId="{ABA0FBBF-F02C-4E85-9235-165128F0F83C}"/>
    <dgm:cxn modelId="{A28CECAA-60DF-4C39-B16E-1431317D0511}" srcId="{A8132677-F19B-40F5-9E47-D9708C8F4A99}" destId="{AF0CE2DF-0107-4571-BDD7-291FB178D3FB}" srcOrd="1" destOrd="0" parTransId="{4B2E6BE3-7923-473F-B786-9F7525962671}" sibTransId="{01F8B25B-BD3B-4DD1-8154-10E09737330B}"/>
    <dgm:cxn modelId="{38475933-1C46-403A-8C74-A1C7EB59DF68}" type="presOf" srcId="{6E09686C-0B65-403B-8E61-EE95BC2F2D20}" destId="{8EE391ED-2FBD-49BB-8E03-B4BFE091C228}" srcOrd="0" destOrd="0" presId="urn:microsoft.com/office/officeart/2009/3/layout/PieProcess"/>
    <dgm:cxn modelId="{67B2946A-5E8A-48D1-8DC3-4BECCEE66835}" type="presOf" srcId="{A8132677-F19B-40F5-9E47-D9708C8F4A99}" destId="{A4AE3BF3-E6F2-499F-BDF2-FC9833AEBD48}" srcOrd="0" destOrd="0" presId="urn:microsoft.com/office/officeart/2009/3/layout/PieProcess"/>
    <dgm:cxn modelId="{A4D84BE2-3964-45C6-8637-CBBB4C378599}" srcId="{9DC6F170-DBFB-4F33-B79F-F034828189B6}" destId="{E363AA2A-E285-4EFC-8667-6CB4283D0773}" srcOrd="4" destOrd="0" parTransId="{F4ABDA9A-E5F4-4BDD-B367-97F5BFFCE7CD}" sibTransId="{14D5CBBA-012C-4026-9F79-5FB9D2836E9C}"/>
    <dgm:cxn modelId="{DDE09AC0-FBF9-45F2-93F2-0713E568D204}" srcId="{8FAFE053-FC0C-4A46-9E52-BED9B8D455E7}" destId="{B28BED29-992C-42A4-82F4-D81AA3698E81}" srcOrd="0" destOrd="0" parTransId="{F07B2647-E857-4F3A-BB1A-88B4C607C9C8}" sibTransId="{59B584B5-43B6-4313-9D56-20593998B76A}"/>
    <dgm:cxn modelId="{27C7A59E-3E7F-452C-9E8C-982FE7DD7F37}" srcId="{87D28394-FD26-42DA-A862-5144CFA366DD}" destId="{CC6A96C8-7B07-427C-913F-2CAC023C84FA}" srcOrd="0" destOrd="0" parTransId="{12935E15-1A3A-4184-BBE9-266BF747313F}" sibTransId="{F6CE055D-34B9-451C-BABD-62FB52F54B2A}"/>
    <dgm:cxn modelId="{33BA5587-2532-4871-836F-32C5A66C4B7E}" srcId="{9DC6F170-DBFB-4F33-B79F-F034828189B6}" destId="{ADD95561-BA3E-487F-AC50-38621C480D68}" srcOrd="2" destOrd="0" parTransId="{EBBA3C6D-5699-4729-8900-C49A33AF5303}" sibTransId="{9C5F35CF-02E6-432A-ADB5-A0EA5E80556C}"/>
    <dgm:cxn modelId="{D342AD10-11C3-4B71-B6CC-63415271A39E}" type="presParOf" srcId="{76652291-E4AA-4C2D-B80C-864FE34A0241}" destId="{3A664929-1D5C-45B2-BCED-2729DB98FE9F}" srcOrd="0" destOrd="0" presId="urn:microsoft.com/office/officeart/2009/3/layout/PieProcess"/>
    <dgm:cxn modelId="{2947EDEE-0DAA-47D5-81BB-913BE692886C}" type="presParOf" srcId="{3A664929-1D5C-45B2-BCED-2729DB98FE9F}" destId="{9EB4E357-18EB-42DA-A323-467A24E1DFCE}" srcOrd="0" destOrd="0" presId="urn:microsoft.com/office/officeart/2009/3/layout/PieProcess"/>
    <dgm:cxn modelId="{5728B846-DD2D-4D68-BA21-5FE4B1C474BA}" type="presParOf" srcId="{3A664929-1D5C-45B2-BCED-2729DB98FE9F}" destId="{3BB23E9D-6ECD-4B91-AD70-DD9D0437677A}" srcOrd="1" destOrd="0" presId="urn:microsoft.com/office/officeart/2009/3/layout/PieProcess"/>
    <dgm:cxn modelId="{724215BD-CAE0-4FEB-A1C3-2BF12E3FAFD7}" type="presParOf" srcId="{3A664929-1D5C-45B2-BCED-2729DB98FE9F}" destId="{B4701ED1-B2F1-4641-9861-2E31BE989A63}" srcOrd="2" destOrd="0" presId="urn:microsoft.com/office/officeart/2009/3/layout/PieProcess"/>
    <dgm:cxn modelId="{CB750818-5722-4CB3-AE1E-39981450D2DA}" type="presParOf" srcId="{76652291-E4AA-4C2D-B80C-864FE34A0241}" destId="{23E60413-A71F-4F93-80DB-6202163F721B}" srcOrd="1" destOrd="0" presId="urn:microsoft.com/office/officeart/2009/3/layout/PieProcess"/>
    <dgm:cxn modelId="{E7D9027C-8D69-4E01-BC43-0122841F6F83}" type="presParOf" srcId="{76652291-E4AA-4C2D-B80C-864FE34A0241}" destId="{A988E576-9D44-4FA2-AD06-795A2E33DCBA}" srcOrd="2" destOrd="0" presId="urn:microsoft.com/office/officeart/2009/3/layout/PieProcess"/>
    <dgm:cxn modelId="{4E1C5D28-10F1-454D-942B-FDF0BF0BCBA4}" type="presParOf" srcId="{A988E576-9D44-4FA2-AD06-795A2E33DCBA}" destId="{BDA2D086-CA92-4661-8F48-6A9E861575AD}" srcOrd="0" destOrd="0" presId="urn:microsoft.com/office/officeart/2009/3/layout/PieProcess"/>
    <dgm:cxn modelId="{F79E272E-760E-4582-BE67-0CC760D87650}" type="presParOf" srcId="{76652291-E4AA-4C2D-B80C-864FE34A0241}" destId="{2CCA61AC-3454-486F-9139-F4D90A195270}" srcOrd="3" destOrd="0" presId="urn:microsoft.com/office/officeart/2009/3/layout/PieProcess"/>
    <dgm:cxn modelId="{8D64843F-835C-4DEF-AB61-F2C1C88D416A}" type="presParOf" srcId="{76652291-E4AA-4C2D-B80C-864FE34A0241}" destId="{90ED2031-36C4-4398-84B6-E77EDB00333F}" srcOrd="4" destOrd="0" presId="urn:microsoft.com/office/officeart/2009/3/layout/PieProcess"/>
    <dgm:cxn modelId="{1E6BF114-9FAD-4EEA-BB00-65D2F6A08692}" type="presParOf" srcId="{90ED2031-36C4-4398-84B6-E77EDB00333F}" destId="{91B40E70-EC36-4D5A-833E-E138F26AF749}" srcOrd="0" destOrd="0" presId="urn:microsoft.com/office/officeart/2009/3/layout/PieProcess"/>
    <dgm:cxn modelId="{9871F623-F387-42BE-964A-8FBBE692038A}" type="presParOf" srcId="{90ED2031-36C4-4398-84B6-E77EDB00333F}" destId="{5D79983A-F60F-41EB-8989-CC5D6CE70EF6}" srcOrd="1" destOrd="0" presId="urn:microsoft.com/office/officeart/2009/3/layout/PieProcess"/>
    <dgm:cxn modelId="{33CF84BC-9A63-412C-9531-EAC95C9053DD}" type="presParOf" srcId="{90ED2031-36C4-4398-84B6-E77EDB00333F}" destId="{425CAEFE-E40B-4562-AD54-7C69A49B2DBF}" srcOrd="2" destOrd="0" presId="urn:microsoft.com/office/officeart/2009/3/layout/PieProcess"/>
    <dgm:cxn modelId="{2761F6D4-A58B-456C-9D53-3527149AE138}" type="presParOf" srcId="{76652291-E4AA-4C2D-B80C-864FE34A0241}" destId="{D031066C-AC06-4A2A-A3E5-4F925B2BFB8B}" srcOrd="5" destOrd="0" presId="urn:microsoft.com/office/officeart/2009/3/layout/PieProcess"/>
    <dgm:cxn modelId="{5E452B94-EEB6-4758-8E29-46A440F45C4D}" type="presParOf" srcId="{76652291-E4AA-4C2D-B80C-864FE34A0241}" destId="{9415DEB9-6D73-4FA9-840A-006A87F352E1}" srcOrd="6" destOrd="0" presId="urn:microsoft.com/office/officeart/2009/3/layout/PieProcess"/>
    <dgm:cxn modelId="{D1B7348A-3A03-459E-A6B6-BCE48A7D493F}" type="presParOf" srcId="{9415DEB9-6D73-4FA9-840A-006A87F352E1}" destId="{F1BF70C7-85F7-4143-9415-D0FFA879C43D}" srcOrd="0" destOrd="0" presId="urn:microsoft.com/office/officeart/2009/3/layout/PieProcess"/>
    <dgm:cxn modelId="{1D4E2071-2097-4418-806F-75512BE28F99}" type="presParOf" srcId="{76652291-E4AA-4C2D-B80C-864FE34A0241}" destId="{B77899E0-5F36-43E7-A034-42354640749A}" srcOrd="7" destOrd="0" presId="urn:microsoft.com/office/officeart/2009/3/layout/PieProcess"/>
    <dgm:cxn modelId="{6EDB0A20-5A45-4A80-86AD-D3FEBFECB9E9}" type="presParOf" srcId="{76652291-E4AA-4C2D-B80C-864FE34A0241}" destId="{04C82714-A5F8-40B7-A883-10ABFA1B3EC0}" srcOrd="8" destOrd="0" presId="urn:microsoft.com/office/officeart/2009/3/layout/PieProcess"/>
    <dgm:cxn modelId="{99BDAA8D-BFE4-48B5-9FB8-0B9383D0E0BE}" type="presParOf" srcId="{04C82714-A5F8-40B7-A883-10ABFA1B3EC0}" destId="{39056821-3F7A-4EC8-B089-05AF71C6A6BF}" srcOrd="0" destOrd="0" presId="urn:microsoft.com/office/officeart/2009/3/layout/PieProcess"/>
    <dgm:cxn modelId="{71B306F0-3949-4958-B01D-CD60FE81F8FE}" type="presParOf" srcId="{04C82714-A5F8-40B7-A883-10ABFA1B3EC0}" destId="{258207C9-4855-4352-92C7-46C824CAA2F3}" srcOrd="1" destOrd="0" presId="urn:microsoft.com/office/officeart/2009/3/layout/PieProcess"/>
    <dgm:cxn modelId="{2021E832-784C-4656-A0D9-FBD21FB85842}" type="presParOf" srcId="{04C82714-A5F8-40B7-A883-10ABFA1B3EC0}" destId="{935E3ED7-2857-43B7-BAA7-62585A9DB746}" srcOrd="2" destOrd="0" presId="urn:microsoft.com/office/officeart/2009/3/layout/PieProcess"/>
    <dgm:cxn modelId="{5F449AE3-7CCE-4E97-89C7-567D6695F511}" type="presParOf" srcId="{76652291-E4AA-4C2D-B80C-864FE34A0241}" destId="{46565184-54E4-48F6-A7DC-5E9820458508}" srcOrd="9" destOrd="0" presId="urn:microsoft.com/office/officeart/2009/3/layout/PieProcess"/>
    <dgm:cxn modelId="{6B3AB65B-358B-4932-9A40-0C3D861ABB1B}" type="presParOf" srcId="{76652291-E4AA-4C2D-B80C-864FE34A0241}" destId="{7872DDF1-4A2E-47A1-8231-2D1D66576D26}" srcOrd="10" destOrd="0" presId="urn:microsoft.com/office/officeart/2009/3/layout/PieProcess"/>
    <dgm:cxn modelId="{44F15609-DAE1-4EB0-B26A-19F43A0128DC}" type="presParOf" srcId="{7872DDF1-4A2E-47A1-8231-2D1D66576D26}" destId="{5DA42535-160F-4FCD-AA6C-47FD5B32A8BB}" srcOrd="0" destOrd="0" presId="urn:microsoft.com/office/officeart/2009/3/layout/PieProcess"/>
    <dgm:cxn modelId="{A0DC0BE3-A2A0-48A8-80E8-F1C36163FD08}" type="presParOf" srcId="{76652291-E4AA-4C2D-B80C-864FE34A0241}" destId="{810CDB25-A98D-49EF-BE0F-C95F27BDC4BD}" srcOrd="11" destOrd="0" presId="urn:microsoft.com/office/officeart/2009/3/layout/PieProcess"/>
    <dgm:cxn modelId="{843EF308-D55A-493D-B0BB-9942892ED625}" type="presParOf" srcId="{76652291-E4AA-4C2D-B80C-864FE34A0241}" destId="{A74136DA-B376-4DC3-B211-21D0924C07DF}" srcOrd="12" destOrd="0" presId="urn:microsoft.com/office/officeart/2009/3/layout/PieProcess"/>
    <dgm:cxn modelId="{3AA8AB0D-294A-4591-AEF9-E035537CA572}" type="presParOf" srcId="{A74136DA-B376-4DC3-B211-21D0924C07DF}" destId="{2F1B927A-397B-41C5-9438-9811BAF38C12}" srcOrd="0" destOrd="0" presId="urn:microsoft.com/office/officeart/2009/3/layout/PieProcess"/>
    <dgm:cxn modelId="{4BA2DADD-186D-41FF-8212-729C6D9A1D27}" type="presParOf" srcId="{A74136DA-B376-4DC3-B211-21D0924C07DF}" destId="{78899E9E-23B2-41B0-A00B-B83FEDCA3872}" srcOrd="1" destOrd="0" presId="urn:microsoft.com/office/officeart/2009/3/layout/PieProcess"/>
    <dgm:cxn modelId="{A39D5C77-6D62-472A-85DA-DA2268EB0CF5}" type="presParOf" srcId="{A74136DA-B376-4DC3-B211-21D0924C07DF}" destId="{00743041-116D-49AB-84AE-A0890CDA6C0D}" srcOrd="2" destOrd="0" presId="urn:microsoft.com/office/officeart/2009/3/layout/PieProcess"/>
    <dgm:cxn modelId="{8FE3B52E-83CE-45B0-AA74-370FBAAAA069}" type="presParOf" srcId="{76652291-E4AA-4C2D-B80C-864FE34A0241}" destId="{25C386A0-93D0-446C-9BA3-7258317D7498}" srcOrd="13" destOrd="0" presId="urn:microsoft.com/office/officeart/2009/3/layout/PieProcess"/>
    <dgm:cxn modelId="{4C80CDFF-839C-4E9A-B593-E2A32379319B}" type="presParOf" srcId="{76652291-E4AA-4C2D-B80C-864FE34A0241}" destId="{A1C63EAD-40B6-49DF-AEF7-0B43981DDC82}" srcOrd="14" destOrd="0" presId="urn:microsoft.com/office/officeart/2009/3/layout/PieProcess"/>
    <dgm:cxn modelId="{EE8950A1-4C32-4879-B09C-AC87C739EFDE}" type="presParOf" srcId="{A1C63EAD-40B6-49DF-AEF7-0B43981DDC82}" destId="{B6D0B285-713F-4CAE-BF56-6A1DEDE9DBA5}" srcOrd="0" destOrd="0" presId="urn:microsoft.com/office/officeart/2009/3/layout/PieProcess"/>
    <dgm:cxn modelId="{F8C896B9-97D7-4304-8F14-EE07AD2D5F73}" type="presParOf" srcId="{76652291-E4AA-4C2D-B80C-864FE34A0241}" destId="{8DA993C3-2A11-4323-B732-ECD0F4E79874}" srcOrd="15" destOrd="0" presId="urn:microsoft.com/office/officeart/2009/3/layout/PieProcess"/>
    <dgm:cxn modelId="{FCD26DA0-DEB3-47B9-96AE-3FC487AAD00B}" type="presParOf" srcId="{76652291-E4AA-4C2D-B80C-864FE34A0241}" destId="{4C018EF4-AE10-4A6E-91A6-8E2EAF1A7AE5}" srcOrd="16" destOrd="0" presId="urn:microsoft.com/office/officeart/2009/3/layout/PieProcess"/>
    <dgm:cxn modelId="{AD8B1B20-8257-472A-ADE4-6301531F1880}" type="presParOf" srcId="{4C018EF4-AE10-4A6E-91A6-8E2EAF1A7AE5}" destId="{60625F9E-4577-426F-B816-EB25F4FC379F}" srcOrd="0" destOrd="0" presId="urn:microsoft.com/office/officeart/2009/3/layout/PieProcess"/>
    <dgm:cxn modelId="{2E2507F4-5342-4B77-AB5D-9D901583F8A7}" type="presParOf" srcId="{4C018EF4-AE10-4A6E-91A6-8E2EAF1A7AE5}" destId="{86E77255-9947-4915-AA77-90C0B18DEB79}" srcOrd="1" destOrd="0" presId="urn:microsoft.com/office/officeart/2009/3/layout/PieProcess"/>
    <dgm:cxn modelId="{0DDB51A0-6C50-4BCD-B9BF-1F258CAFDB97}" type="presParOf" srcId="{4C018EF4-AE10-4A6E-91A6-8E2EAF1A7AE5}" destId="{C76EE90B-2719-4CE0-B9C7-2FDFC26685C7}" srcOrd="2" destOrd="0" presId="urn:microsoft.com/office/officeart/2009/3/layout/PieProcess"/>
    <dgm:cxn modelId="{E56ACC97-9180-44ED-BACD-25C837CBA127}" type="presParOf" srcId="{76652291-E4AA-4C2D-B80C-864FE34A0241}" destId="{32581CC0-4B17-47EC-AC0F-4F1E929BCBAD}" srcOrd="17" destOrd="0" presId="urn:microsoft.com/office/officeart/2009/3/layout/PieProcess"/>
    <dgm:cxn modelId="{2DBC86C1-6CB2-4C5D-9A18-04321815387C}" type="presParOf" srcId="{76652291-E4AA-4C2D-B80C-864FE34A0241}" destId="{10A2AF5F-545A-42C0-8F9E-BBB57DAFBCC5}" srcOrd="18" destOrd="0" presId="urn:microsoft.com/office/officeart/2009/3/layout/PieProcess"/>
    <dgm:cxn modelId="{8094EE9F-DB1C-45E8-A9C5-D0DC9F39B394}" type="presParOf" srcId="{10A2AF5F-545A-42C0-8F9E-BBB57DAFBCC5}" destId="{8EE391ED-2FBD-49BB-8E03-B4BFE091C228}" srcOrd="0" destOrd="0" presId="urn:microsoft.com/office/officeart/2009/3/layout/PieProcess"/>
    <dgm:cxn modelId="{116B388D-540C-481D-9FBF-8541B983B0E6}" type="presParOf" srcId="{76652291-E4AA-4C2D-B80C-864FE34A0241}" destId="{03343F49-F981-4BBC-8B6D-0BBED66AE6D7}" srcOrd="19" destOrd="0" presId="urn:microsoft.com/office/officeart/2009/3/layout/PieProcess"/>
    <dgm:cxn modelId="{1EE8AB71-DCB1-4D19-A2DA-1E332DC99DFE}" type="presParOf" srcId="{76652291-E4AA-4C2D-B80C-864FE34A0241}" destId="{D432D9DE-5005-4476-8421-73CB4779A9BF}" srcOrd="20" destOrd="0" presId="urn:microsoft.com/office/officeart/2009/3/layout/PieProcess"/>
    <dgm:cxn modelId="{BFDA01E7-7D76-416D-AD87-23A8E431C487}" type="presParOf" srcId="{D432D9DE-5005-4476-8421-73CB4779A9BF}" destId="{A23886D0-B6BE-466B-92EB-8D9F9DCE7FC7}" srcOrd="0" destOrd="0" presId="urn:microsoft.com/office/officeart/2009/3/layout/PieProcess"/>
    <dgm:cxn modelId="{ADA4C3A9-A344-46D6-B0AD-168D9054D9AC}" type="presParOf" srcId="{D432D9DE-5005-4476-8421-73CB4779A9BF}" destId="{4DE3DAC5-2266-4CDF-809F-BB75D44472CC}" srcOrd="1" destOrd="0" presId="urn:microsoft.com/office/officeart/2009/3/layout/PieProcess"/>
    <dgm:cxn modelId="{80055D0F-6E25-4E59-A635-DD3D60891D47}" type="presParOf" srcId="{D432D9DE-5005-4476-8421-73CB4779A9BF}" destId="{A4AE3BF3-E6F2-499F-BDF2-FC9833AEBD48}" srcOrd="2" destOrd="0" presId="urn:microsoft.com/office/officeart/2009/3/layout/PieProcess"/>
    <dgm:cxn modelId="{4B3FD69F-E649-4183-BC20-6CA720D91B99}" type="presParOf" srcId="{76652291-E4AA-4C2D-B80C-864FE34A0241}" destId="{18245C7E-2F76-4965-9894-7C58315415AA}" srcOrd="21" destOrd="0" presId="urn:microsoft.com/office/officeart/2009/3/layout/PieProcess"/>
    <dgm:cxn modelId="{26C8C3A8-74F4-4073-8295-10CCCD2E581D}" type="presParOf" srcId="{76652291-E4AA-4C2D-B80C-864FE34A0241}" destId="{9B62C9CB-9B68-44A0-827A-85236088DFF6}" srcOrd="22" destOrd="0" presId="urn:microsoft.com/office/officeart/2009/3/layout/PieProcess"/>
    <dgm:cxn modelId="{324F3803-B6C8-4875-891D-E7761DA5EBC2}" type="presParOf" srcId="{9B62C9CB-9B68-44A0-827A-85236088DFF6}" destId="{F860D00E-6336-42CE-8CB8-5C4A7F9E7A95}" srcOrd="0" destOrd="0" presId="urn:microsoft.com/office/officeart/2009/3/layout/Pie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CD9D928-DFF3-4387-A756-531233BBDD65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EF6E61E3-D61E-4267-9DA6-28DDFA1C5FAB}">
      <dgm:prSet phldrT="[Texto]" custT="1"/>
      <dgm:spPr/>
      <dgm:t>
        <a:bodyPr/>
        <a:lstStyle/>
        <a:p>
          <a:r>
            <a:rPr lang="pt-BR" sz="2400" dirty="0" smtClean="0"/>
            <a:t>Processo</a:t>
          </a:r>
          <a:endParaRPr lang="pt-BR" sz="2400" dirty="0"/>
        </a:p>
      </dgm:t>
    </dgm:pt>
    <dgm:pt modelId="{F10BF274-4832-48E3-9096-F40D2A0830AF}" type="parTrans" cxnId="{DEE09AD3-6246-495E-A973-7FD864430362}">
      <dgm:prSet/>
      <dgm:spPr/>
      <dgm:t>
        <a:bodyPr/>
        <a:lstStyle/>
        <a:p>
          <a:endParaRPr lang="pt-BR" sz="3200"/>
        </a:p>
      </dgm:t>
    </dgm:pt>
    <dgm:pt modelId="{7371F96B-362C-43B8-B983-00BA1B033A89}" type="sibTrans" cxnId="{DEE09AD3-6246-495E-A973-7FD864430362}">
      <dgm:prSet/>
      <dgm:spPr/>
      <dgm:t>
        <a:bodyPr/>
        <a:lstStyle/>
        <a:p>
          <a:endParaRPr lang="pt-BR" sz="3200"/>
        </a:p>
      </dgm:t>
    </dgm:pt>
    <dgm:pt modelId="{85EB588B-D93C-497A-9831-7B83E94D3A92}">
      <dgm:prSet phldrT="[Texto]" custT="1"/>
      <dgm:spPr/>
      <dgm:t>
        <a:bodyPr/>
        <a:lstStyle/>
        <a:p>
          <a:r>
            <a:rPr lang="pt-BR" sz="900" b="1" dirty="0" smtClean="0"/>
            <a:t>Revisar processo de venda</a:t>
          </a:r>
        </a:p>
        <a:p>
          <a:r>
            <a:rPr lang="pt-BR" sz="900" dirty="0" smtClean="0"/>
            <a:t>- Vendedor hoje tem liberdade de imputar várias vendas para o mesmo CPF, “fugindo” das analise de fraudes</a:t>
          </a:r>
        </a:p>
        <a:p>
          <a:r>
            <a:rPr lang="pt-BR" sz="900" dirty="0" smtClean="0"/>
            <a:t>- Incluir novos campos no momento da Venda  ( Identidade, </a:t>
          </a:r>
          <a:r>
            <a:rPr lang="pt-BR" sz="900" dirty="0" err="1" smtClean="0"/>
            <a:t>tel</a:t>
          </a:r>
          <a:r>
            <a:rPr lang="pt-BR" sz="900" dirty="0" smtClean="0"/>
            <a:t> Binado, </a:t>
          </a:r>
          <a:r>
            <a:rPr lang="pt-BR" sz="900" dirty="0" err="1" smtClean="0"/>
            <a:t>etc</a:t>
          </a:r>
          <a:r>
            <a:rPr lang="pt-BR" sz="900" dirty="0" smtClean="0"/>
            <a:t>)</a:t>
          </a:r>
        </a:p>
      </dgm:t>
    </dgm:pt>
    <dgm:pt modelId="{D43E85AC-AB4E-408B-9C8E-198EC154C7F4}" type="parTrans" cxnId="{A7EB62EF-F45C-42BC-ACE4-2EE8CF325111}">
      <dgm:prSet/>
      <dgm:spPr/>
      <dgm:t>
        <a:bodyPr/>
        <a:lstStyle/>
        <a:p>
          <a:endParaRPr lang="pt-BR" sz="3200"/>
        </a:p>
      </dgm:t>
    </dgm:pt>
    <dgm:pt modelId="{D891CC8F-AF08-4E2E-83CF-93D30C4C38A4}" type="sibTrans" cxnId="{A7EB62EF-F45C-42BC-ACE4-2EE8CF325111}">
      <dgm:prSet/>
      <dgm:spPr/>
      <dgm:t>
        <a:bodyPr/>
        <a:lstStyle/>
        <a:p>
          <a:endParaRPr lang="pt-BR" sz="3200"/>
        </a:p>
      </dgm:t>
    </dgm:pt>
    <dgm:pt modelId="{F1C5C28C-B0CA-4867-9745-5511E2A4CC3E}">
      <dgm:prSet phldrT="[Texto]" custT="1"/>
      <dgm:spPr/>
      <dgm:t>
        <a:bodyPr/>
        <a:lstStyle/>
        <a:p>
          <a:r>
            <a:rPr lang="pt-BR" sz="2400" dirty="0" smtClean="0"/>
            <a:t>Sistema</a:t>
          </a:r>
          <a:endParaRPr lang="pt-BR" sz="2400" dirty="0"/>
        </a:p>
      </dgm:t>
    </dgm:pt>
    <dgm:pt modelId="{4EB8AD91-7236-4FEC-89F4-0EEF975F2B7E}" type="parTrans" cxnId="{47A43877-D5D9-4771-B9C1-00C08A66EC9E}">
      <dgm:prSet/>
      <dgm:spPr/>
      <dgm:t>
        <a:bodyPr/>
        <a:lstStyle/>
        <a:p>
          <a:endParaRPr lang="pt-BR" sz="3200"/>
        </a:p>
      </dgm:t>
    </dgm:pt>
    <dgm:pt modelId="{7550F392-0C3E-4EE2-8C62-14D19B10D1FE}" type="sibTrans" cxnId="{47A43877-D5D9-4771-B9C1-00C08A66EC9E}">
      <dgm:prSet/>
      <dgm:spPr/>
      <dgm:t>
        <a:bodyPr/>
        <a:lstStyle/>
        <a:p>
          <a:endParaRPr lang="pt-BR" sz="3200"/>
        </a:p>
      </dgm:t>
    </dgm:pt>
    <dgm:pt modelId="{5EDEBB63-5007-4CC2-9015-7BEA0FE54D4C}">
      <dgm:prSet phldrT="[Texto]" custT="1"/>
      <dgm:spPr/>
      <dgm:t>
        <a:bodyPr/>
        <a:lstStyle/>
        <a:p>
          <a:r>
            <a:rPr lang="pt-BR" sz="900" b="1" dirty="0" smtClean="0"/>
            <a:t>Criação de novas interfaces para o sistema de fraude</a:t>
          </a:r>
        </a:p>
        <a:p>
          <a:r>
            <a:rPr lang="pt-BR" sz="900" b="0" dirty="0" smtClean="0"/>
            <a:t>- Necessidade de investimento para criação de interfaces do sistema de fraude com CRM, Cobrança, Faturamento e Rede</a:t>
          </a:r>
        </a:p>
        <a:p>
          <a:r>
            <a:rPr lang="pt-BR" sz="900" b="0" dirty="0" smtClean="0"/>
            <a:t>- Campos mandatórios não chegam no momento da venda on-line (</a:t>
          </a:r>
          <a:r>
            <a:rPr lang="pt-BR" sz="900" b="0" dirty="0" err="1" smtClean="0"/>
            <a:t>login</a:t>
          </a:r>
          <a:r>
            <a:rPr lang="pt-BR" sz="900" b="0" dirty="0" smtClean="0"/>
            <a:t> vendedor, produto), evoluir interface Siebel/</a:t>
          </a:r>
          <a:r>
            <a:rPr lang="pt-BR" sz="900" b="0" dirty="0" err="1" smtClean="0"/>
            <a:t>Transact</a:t>
          </a:r>
          <a:endParaRPr lang="pt-BR" sz="900" b="0" dirty="0"/>
        </a:p>
      </dgm:t>
    </dgm:pt>
    <dgm:pt modelId="{B8E5337C-8026-4BDB-994C-33C3D01C0C9B}" type="parTrans" cxnId="{9917453B-10BF-427A-AD79-D5438820361D}">
      <dgm:prSet/>
      <dgm:spPr/>
      <dgm:t>
        <a:bodyPr/>
        <a:lstStyle/>
        <a:p>
          <a:endParaRPr lang="pt-BR" sz="3200"/>
        </a:p>
      </dgm:t>
    </dgm:pt>
    <dgm:pt modelId="{E0E1C782-3F0A-4CF7-B3BF-EBAF7EB97233}" type="sibTrans" cxnId="{9917453B-10BF-427A-AD79-D5438820361D}">
      <dgm:prSet/>
      <dgm:spPr/>
      <dgm:t>
        <a:bodyPr/>
        <a:lstStyle/>
        <a:p>
          <a:endParaRPr lang="pt-BR" sz="3200"/>
        </a:p>
      </dgm:t>
    </dgm:pt>
    <dgm:pt modelId="{8506CFAB-902E-47F1-9D54-1067FD462655}">
      <dgm:prSet phldrT="[Texto]" custT="1"/>
      <dgm:spPr/>
      <dgm:t>
        <a:bodyPr/>
        <a:lstStyle/>
        <a:p>
          <a:r>
            <a:rPr lang="pt-BR" sz="900" b="1" dirty="0" smtClean="0"/>
            <a:t>Controles Analíticos avançados</a:t>
          </a:r>
        </a:p>
        <a:p>
          <a:r>
            <a:rPr lang="pt-BR" sz="900" dirty="0" smtClean="0"/>
            <a:t>- Construir banco de dados do sistema sobre BIG DATA</a:t>
          </a:r>
        </a:p>
        <a:p>
          <a:r>
            <a:rPr lang="pt-BR" sz="900" dirty="0" smtClean="0"/>
            <a:t>- </a:t>
          </a:r>
          <a:r>
            <a:rPr lang="pt-BR" sz="900" dirty="0" err="1" smtClean="0"/>
            <a:t>Wedo</a:t>
          </a:r>
          <a:r>
            <a:rPr lang="pt-BR" sz="900" dirty="0" smtClean="0"/>
            <a:t> irá construir modelos estatística  através de serviço pois não possui na ferramenta</a:t>
          </a:r>
        </a:p>
        <a:p>
          <a:r>
            <a:rPr lang="pt-BR" sz="900" dirty="0" smtClean="0"/>
            <a:t>- Contratar Score externo </a:t>
          </a:r>
          <a:r>
            <a:rPr lang="pt-BR" sz="900" dirty="0" err="1" smtClean="0"/>
            <a:t>ClearSale</a:t>
          </a:r>
          <a:r>
            <a:rPr lang="pt-BR" sz="900" dirty="0" smtClean="0"/>
            <a:t>/ Serasa no momento da venda</a:t>
          </a:r>
          <a:endParaRPr lang="pt-BR" sz="900" dirty="0"/>
        </a:p>
      </dgm:t>
    </dgm:pt>
    <dgm:pt modelId="{17600AF6-84CD-42C1-8AC1-6D5564326B83}" type="parTrans" cxnId="{4D4A67A6-8CBA-4869-AF44-B8E80B185305}">
      <dgm:prSet/>
      <dgm:spPr/>
      <dgm:t>
        <a:bodyPr/>
        <a:lstStyle/>
        <a:p>
          <a:endParaRPr lang="pt-BR" sz="3200"/>
        </a:p>
      </dgm:t>
    </dgm:pt>
    <dgm:pt modelId="{307C079A-B5C6-4D46-BD96-BA3BD1FDABE9}" type="sibTrans" cxnId="{4D4A67A6-8CBA-4869-AF44-B8E80B185305}">
      <dgm:prSet/>
      <dgm:spPr/>
      <dgm:t>
        <a:bodyPr/>
        <a:lstStyle/>
        <a:p>
          <a:endParaRPr lang="pt-BR" sz="3200"/>
        </a:p>
      </dgm:t>
    </dgm:pt>
    <dgm:pt modelId="{F8FC9D26-794D-476B-8BE0-06F7767B1442}">
      <dgm:prSet phldrT="[Texto]" custT="1"/>
      <dgm:spPr/>
      <dgm:t>
        <a:bodyPr/>
        <a:lstStyle/>
        <a:p>
          <a:r>
            <a:rPr lang="pt-BR" sz="2400" dirty="0" smtClean="0"/>
            <a:t>Pessoas</a:t>
          </a:r>
          <a:endParaRPr lang="pt-BR" sz="2400" dirty="0"/>
        </a:p>
      </dgm:t>
    </dgm:pt>
    <dgm:pt modelId="{454F4EC5-B4B5-43D1-8B2C-D9FCAC24FD40}" type="parTrans" cxnId="{EA2A59A0-7EE7-4E8A-9A27-A9D8DE197D9D}">
      <dgm:prSet/>
      <dgm:spPr/>
      <dgm:t>
        <a:bodyPr/>
        <a:lstStyle/>
        <a:p>
          <a:endParaRPr lang="pt-BR" sz="3200"/>
        </a:p>
      </dgm:t>
    </dgm:pt>
    <dgm:pt modelId="{2E2186E1-C0F0-495B-822F-14AA4CDE6B7E}" type="sibTrans" cxnId="{EA2A59A0-7EE7-4E8A-9A27-A9D8DE197D9D}">
      <dgm:prSet/>
      <dgm:spPr/>
      <dgm:t>
        <a:bodyPr/>
        <a:lstStyle/>
        <a:p>
          <a:endParaRPr lang="pt-BR" sz="3200"/>
        </a:p>
      </dgm:t>
    </dgm:pt>
    <dgm:pt modelId="{9435F5F4-F4DA-46D2-B5CD-3CB42E2BFAAE}">
      <dgm:prSet phldrT="[Texto]" custT="1"/>
      <dgm:spPr/>
      <dgm:t>
        <a:bodyPr/>
        <a:lstStyle/>
        <a:p>
          <a:r>
            <a:rPr lang="pt-BR" sz="900" dirty="0" smtClean="0"/>
            <a:t>Áreas mandatórias </a:t>
          </a:r>
          <a:endParaRPr lang="pt-BR" sz="900" dirty="0"/>
        </a:p>
      </dgm:t>
    </dgm:pt>
    <dgm:pt modelId="{7052DB22-721C-4177-92B9-850AF7450EE4}" type="parTrans" cxnId="{B9F39410-95C3-4E9B-A498-340A3CA7290F}">
      <dgm:prSet/>
      <dgm:spPr/>
      <dgm:t>
        <a:bodyPr/>
        <a:lstStyle/>
        <a:p>
          <a:endParaRPr lang="pt-BR" sz="3200"/>
        </a:p>
      </dgm:t>
    </dgm:pt>
    <dgm:pt modelId="{38A8C1AA-CFC7-4B42-94F8-89166A0F3AAB}" type="sibTrans" cxnId="{B9F39410-95C3-4E9B-A498-340A3CA7290F}">
      <dgm:prSet/>
      <dgm:spPr/>
      <dgm:t>
        <a:bodyPr/>
        <a:lstStyle/>
        <a:p>
          <a:endParaRPr lang="pt-BR" sz="3200"/>
        </a:p>
      </dgm:t>
    </dgm:pt>
    <dgm:pt modelId="{E212614C-1B12-4EC1-91DD-D5581FD07586}">
      <dgm:prSet phldrT="[Texto]" phldr="1" custT="1"/>
      <dgm:spPr/>
      <dgm:t>
        <a:bodyPr/>
        <a:lstStyle/>
        <a:p>
          <a:endParaRPr lang="pt-BR" sz="900" dirty="0"/>
        </a:p>
      </dgm:t>
    </dgm:pt>
    <dgm:pt modelId="{728398ED-B7DA-4546-A738-1068B67B2886}" type="parTrans" cxnId="{18437217-335B-43C5-A208-BD8F610AC845}">
      <dgm:prSet/>
      <dgm:spPr/>
      <dgm:t>
        <a:bodyPr/>
        <a:lstStyle/>
        <a:p>
          <a:endParaRPr lang="pt-BR" sz="3200"/>
        </a:p>
      </dgm:t>
    </dgm:pt>
    <dgm:pt modelId="{92A04921-C7FA-4356-AA60-1F27A29EB600}" type="sibTrans" cxnId="{18437217-335B-43C5-A208-BD8F610AC845}">
      <dgm:prSet/>
      <dgm:spPr/>
      <dgm:t>
        <a:bodyPr/>
        <a:lstStyle/>
        <a:p>
          <a:endParaRPr lang="pt-BR" sz="3200"/>
        </a:p>
      </dgm:t>
    </dgm:pt>
    <dgm:pt modelId="{2FEAC958-3EE7-4BC1-B75D-CEB425B46C37}">
      <dgm:prSet phldrT="[Texto]" custT="1"/>
      <dgm:spPr/>
      <dgm:t>
        <a:bodyPr/>
        <a:lstStyle/>
        <a:p>
          <a:r>
            <a:rPr lang="pt-BR" sz="900" b="1" dirty="0" smtClean="0"/>
            <a:t>Alteração processo BPO</a:t>
          </a:r>
        </a:p>
        <a:p>
          <a:r>
            <a:rPr lang="pt-BR" sz="900" b="0" dirty="0" smtClean="0"/>
            <a:t>- Necessidade do BPO para  especificação/teste/treinamento do processo de Detecção </a:t>
          </a:r>
          <a:endParaRPr lang="pt-BR" sz="900" b="0" dirty="0"/>
        </a:p>
      </dgm:t>
    </dgm:pt>
    <dgm:pt modelId="{421B1B7D-8CE9-4284-9BDE-1D7131ABED09}" type="parTrans" cxnId="{71CE3CB9-86E3-43E4-8600-6D698029A2B6}">
      <dgm:prSet/>
      <dgm:spPr/>
      <dgm:t>
        <a:bodyPr/>
        <a:lstStyle/>
        <a:p>
          <a:endParaRPr lang="pt-BR" sz="3200"/>
        </a:p>
      </dgm:t>
    </dgm:pt>
    <dgm:pt modelId="{E525B012-7EC3-4F44-9CC1-A0BD2271DFA9}" type="sibTrans" cxnId="{71CE3CB9-86E3-43E4-8600-6D698029A2B6}">
      <dgm:prSet/>
      <dgm:spPr/>
      <dgm:t>
        <a:bodyPr/>
        <a:lstStyle/>
        <a:p>
          <a:endParaRPr lang="pt-BR" sz="3200"/>
        </a:p>
      </dgm:t>
    </dgm:pt>
    <dgm:pt modelId="{08C521B3-9A8D-411F-91C7-611D4279554D}">
      <dgm:prSet phldrT="[Texto]" custT="1"/>
      <dgm:spPr/>
      <dgm:t>
        <a:bodyPr/>
        <a:lstStyle/>
        <a:p>
          <a:r>
            <a:rPr lang="pt-BR" sz="900" b="1" dirty="0" smtClean="0"/>
            <a:t>Aumentar vendas</a:t>
          </a:r>
        </a:p>
        <a:p>
          <a:r>
            <a:rPr lang="pt-BR" sz="900" b="0" dirty="0" smtClean="0"/>
            <a:t>- Evoluir as regras de negativa da venda nos casos de erro de cadastro e sem contato para  negar nos cenários de alto risco</a:t>
          </a:r>
          <a:endParaRPr lang="pt-BR" sz="900" dirty="0" smtClean="0"/>
        </a:p>
      </dgm:t>
    </dgm:pt>
    <dgm:pt modelId="{DE8957B4-6FFA-42E4-A432-769ED8EAFCD7}" type="parTrans" cxnId="{9DE74271-71ED-49A0-82D5-8624DD77BA70}">
      <dgm:prSet/>
      <dgm:spPr/>
      <dgm:t>
        <a:bodyPr/>
        <a:lstStyle/>
        <a:p>
          <a:endParaRPr lang="pt-BR"/>
        </a:p>
      </dgm:t>
    </dgm:pt>
    <dgm:pt modelId="{F5C7FEF7-76CE-4804-BB43-9172127785DD}" type="sibTrans" cxnId="{9DE74271-71ED-49A0-82D5-8624DD77BA70}">
      <dgm:prSet/>
      <dgm:spPr/>
      <dgm:t>
        <a:bodyPr/>
        <a:lstStyle/>
        <a:p>
          <a:endParaRPr lang="pt-BR"/>
        </a:p>
      </dgm:t>
    </dgm:pt>
    <dgm:pt modelId="{5034F69E-B3BB-4B5A-9E26-6C96CD330C80}" type="pres">
      <dgm:prSet presAssocID="{FCD9D928-DFF3-4387-A756-531233BBDD65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494A91EA-FB56-4FCB-8F05-E8DD224F2552}" type="pres">
      <dgm:prSet presAssocID="{EF6E61E3-D61E-4267-9DA6-28DDFA1C5FAB}" presName="thickLine" presStyleLbl="alignNode1" presStyleIdx="0" presStyleCnt="3"/>
      <dgm:spPr/>
    </dgm:pt>
    <dgm:pt modelId="{DE82A516-14B6-4970-AC9A-6276F1CCBCB4}" type="pres">
      <dgm:prSet presAssocID="{EF6E61E3-D61E-4267-9DA6-28DDFA1C5FAB}" presName="horz1" presStyleCnt="0"/>
      <dgm:spPr/>
    </dgm:pt>
    <dgm:pt modelId="{B4D874B8-311A-4FE7-ACD0-4AB95C8020EC}" type="pres">
      <dgm:prSet presAssocID="{EF6E61E3-D61E-4267-9DA6-28DDFA1C5FAB}" presName="tx1" presStyleLbl="revTx" presStyleIdx="0" presStyleCnt="10"/>
      <dgm:spPr/>
      <dgm:t>
        <a:bodyPr/>
        <a:lstStyle/>
        <a:p>
          <a:endParaRPr lang="pt-BR"/>
        </a:p>
      </dgm:t>
    </dgm:pt>
    <dgm:pt modelId="{D46FBAD3-6AA3-4DF9-9DAF-7B10D920F3F2}" type="pres">
      <dgm:prSet presAssocID="{EF6E61E3-D61E-4267-9DA6-28DDFA1C5FAB}" presName="vert1" presStyleCnt="0"/>
      <dgm:spPr/>
    </dgm:pt>
    <dgm:pt modelId="{EDDB79FC-F7FF-4441-A0F1-4BD92EA4FA23}" type="pres">
      <dgm:prSet presAssocID="{85EB588B-D93C-497A-9831-7B83E94D3A92}" presName="vertSpace2a" presStyleCnt="0"/>
      <dgm:spPr/>
    </dgm:pt>
    <dgm:pt modelId="{24655C46-50FB-4708-9F8B-B70EC376CEEC}" type="pres">
      <dgm:prSet presAssocID="{85EB588B-D93C-497A-9831-7B83E94D3A92}" presName="horz2" presStyleCnt="0"/>
      <dgm:spPr/>
    </dgm:pt>
    <dgm:pt modelId="{EE2B9FEC-591A-49BA-AF2C-99BC3A3B9652}" type="pres">
      <dgm:prSet presAssocID="{85EB588B-D93C-497A-9831-7B83E94D3A92}" presName="horzSpace2" presStyleCnt="0"/>
      <dgm:spPr/>
    </dgm:pt>
    <dgm:pt modelId="{20F61F90-CC95-43CE-BA3B-40C8A8D56F34}" type="pres">
      <dgm:prSet presAssocID="{85EB588B-D93C-497A-9831-7B83E94D3A92}" presName="tx2" presStyleLbl="revTx" presStyleIdx="1" presStyleCnt="10"/>
      <dgm:spPr/>
      <dgm:t>
        <a:bodyPr/>
        <a:lstStyle/>
        <a:p>
          <a:endParaRPr lang="pt-BR"/>
        </a:p>
      </dgm:t>
    </dgm:pt>
    <dgm:pt modelId="{799D61D1-831B-41E0-B955-5380618C4323}" type="pres">
      <dgm:prSet presAssocID="{85EB588B-D93C-497A-9831-7B83E94D3A92}" presName="vert2" presStyleCnt="0"/>
      <dgm:spPr/>
    </dgm:pt>
    <dgm:pt modelId="{D158DDBC-3C5F-45B5-AB11-9B30D4B9BBC4}" type="pres">
      <dgm:prSet presAssocID="{85EB588B-D93C-497A-9831-7B83E94D3A92}" presName="thinLine2b" presStyleLbl="callout" presStyleIdx="0" presStyleCnt="7"/>
      <dgm:spPr/>
    </dgm:pt>
    <dgm:pt modelId="{1C0E636E-2E5D-41D6-9978-1BDB5748FD30}" type="pres">
      <dgm:prSet presAssocID="{85EB588B-D93C-497A-9831-7B83E94D3A92}" presName="vertSpace2b" presStyleCnt="0"/>
      <dgm:spPr/>
    </dgm:pt>
    <dgm:pt modelId="{F3C8D30F-C090-4608-A894-38232C65B9E1}" type="pres">
      <dgm:prSet presAssocID="{08C521B3-9A8D-411F-91C7-611D4279554D}" presName="horz2" presStyleCnt="0"/>
      <dgm:spPr/>
    </dgm:pt>
    <dgm:pt modelId="{4B91AD29-49C4-4004-A0EC-A19EBBA3CFF3}" type="pres">
      <dgm:prSet presAssocID="{08C521B3-9A8D-411F-91C7-611D4279554D}" presName="horzSpace2" presStyleCnt="0"/>
      <dgm:spPr/>
    </dgm:pt>
    <dgm:pt modelId="{D6E9AE90-DBBE-45AA-A807-506D2554B8C8}" type="pres">
      <dgm:prSet presAssocID="{08C521B3-9A8D-411F-91C7-611D4279554D}" presName="tx2" presStyleLbl="revTx" presStyleIdx="2" presStyleCnt="10"/>
      <dgm:spPr/>
      <dgm:t>
        <a:bodyPr/>
        <a:lstStyle/>
        <a:p>
          <a:endParaRPr lang="pt-BR"/>
        </a:p>
      </dgm:t>
    </dgm:pt>
    <dgm:pt modelId="{0AE5FD76-FC96-4036-A7D8-7C45C86A94D6}" type="pres">
      <dgm:prSet presAssocID="{08C521B3-9A8D-411F-91C7-611D4279554D}" presName="vert2" presStyleCnt="0"/>
      <dgm:spPr/>
    </dgm:pt>
    <dgm:pt modelId="{450E1908-DA79-4167-81D0-0A74564C56F7}" type="pres">
      <dgm:prSet presAssocID="{08C521B3-9A8D-411F-91C7-611D4279554D}" presName="thinLine2b" presStyleLbl="callout" presStyleIdx="1" presStyleCnt="7"/>
      <dgm:spPr/>
    </dgm:pt>
    <dgm:pt modelId="{8FA2FE79-9047-4E1E-8884-7341023B346A}" type="pres">
      <dgm:prSet presAssocID="{08C521B3-9A8D-411F-91C7-611D4279554D}" presName="vertSpace2b" presStyleCnt="0"/>
      <dgm:spPr/>
    </dgm:pt>
    <dgm:pt modelId="{BA94432E-FBD2-4428-AA39-EA145CAF5434}" type="pres">
      <dgm:prSet presAssocID="{2FEAC958-3EE7-4BC1-B75D-CEB425B46C37}" presName="horz2" presStyleCnt="0"/>
      <dgm:spPr/>
    </dgm:pt>
    <dgm:pt modelId="{839550EA-101E-47E8-BBA0-07A762FA2EDC}" type="pres">
      <dgm:prSet presAssocID="{2FEAC958-3EE7-4BC1-B75D-CEB425B46C37}" presName="horzSpace2" presStyleCnt="0"/>
      <dgm:spPr/>
    </dgm:pt>
    <dgm:pt modelId="{328F5E6F-3C5B-439D-B84B-44DF2434EBB1}" type="pres">
      <dgm:prSet presAssocID="{2FEAC958-3EE7-4BC1-B75D-CEB425B46C37}" presName="tx2" presStyleLbl="revTx" presStyleIdx="3" presStyleCnt="10"/>
      <dgm:spPr/>
      <dgm:t>
        <a:bodyPr/>
        <a:lstStyle/>
        <a:p>
          <a:endParaRPr lang="pt-BR"/>
        </a:p>
      </dgm:t>
    </dgm:pt>
    <dgm:pt modelId="{51665BA1-670B-4FE5-9138-845EA250F612}" type="pres">
      <dgm:prSet presAssocID="{2FEAC958-3EE7-4BC1-B75D-CEB425B46C37}" presName="vert2" presStyleCnt="0"/>
      <dgm:spPr/>
    </dgm:pt>
    <dgm:pt modelId="{A5288D80-61A7-46CC-AB68-09A0FEAC6D90}" type="pres">
      <dgm:prSet presAssocID="{2FEAC958-3EE7-4BC1-B75D-CEB425B46C37}" presName="thinLine2b" presStyleLbl="callout" presStyleIdx="2" presStyleCnt="7"/>
      <dgm:spPr/>
    </dgm:pt>
    <dgm:pt modelId="{993ABE9D-9123-4B04-9979-42C624FD69D0}" type="pres">
      <dgm:prSet presAssocID="{2FEAC958-3EE7-4BC1-B75D-CEB425B46C37}" presName="vertSpace2b" presStyleCnt="0"/>
      <dgm:spPr/>
    </dgm:pt>
    <dgm:pt modelId="{DA233065-F709-416F-8D09-5955D73E89D7}" type="pres">
      <dgm:prSet presAssocID="{F1C5C28C-B0CA-4867-9745-5511E2A4CC3E}" presName="thickLine" presStyleLbl="alignNode1" presStyleIdx="1" presStyleCnt="3"/>
      <dgm:spPr/>
    </dgm:pt>
    <dgm:pt modelId="{33CF6266-8618-4332-A36C-A4BE18D00460}" type="pres">
      <dgm:prSet presAssocID="{F1C5C28C-B0CA-4867-9745-5511E2A4CC3E}" presName="horz1" presStyleCnt="0"/>
      <dgm:spPr/>
    </dgm:pt>
    <dgm:pt modelId="{C123F014-0BB4-4553-9A4B-782452C011F2}" type="pres">
      <dgm:prSet presAssocID="{F1C5C28C-B0CA-4867-9745-5511E2A4CC3E}" presName="tx1" presStyleLbl="revTx" presStyleIdx="4" presStyleCnt="10"/>
      <dgm:spPr/>
      <dgm:t>
        <a:bodyPr/>
        <a:lstStyle/>
        <a:p>
          <a:endParaRPr lang="pt-BR"/>
        </a:p>
      </dgm:t>
    </dgm:pt>
    <dgm:pt modelId="{3A1043AF-DD64-4519-B5C8-38A278CD722C}" type="pres">
      <dgm:prSet presAssocID="{F1C5C28C-B0CA-4867-9745-5511E2A4CC3E}" presName="vert1" presStyleCnt="0"/>
      <dgm:spPr/>
    </dgm:pt>
    <dgm:pt modelId="{D66122D0-ED79-4014-86D5-CCB893943151}" type="pres">
      <dgm:prSet presAssocID="{5EDEBB63-5007-4CC2-9015-7BEA0FE54D4C}" presName="vertSpace2a" presStyleCnt="0"/>
      <dgm:spPr/>
    </dgm:pt>
    <dgm:pt modelId="{84529B04-DF94-4601-81BD-F4F8EF06D114}" type="pres">
      <dgm:prSet presAssocID="{5EDEBB63-5007-4CC2-9015-7BEA0FE54D4C}" presName="horz2" presStyleCnt="0"/>
      <dgm:spPr/>
    </dgm:pt>
    <dgm:pt modelId="{11CC352B-3935-4B1E-982C-D67C1F4954E1}" type="pres">
      <dgm:prSet presAssocID="{5EDEBB63-5007-4CC2-9015-7BEA0FE54D4C}" presName="horzSpace2" presStyleCnt="0"/>
      <dgm:spPr/>
    </dgm:pt>
    <dgm:pt modelId="{9666AA67-6E25-4340-96AF-ED293B3811C6}" type="pres">
      <dgm:prSet presAssocID="{5EDEBB63-5007-4CC2-9015-7BEA0FE54D4C}" presName="tx2" presStyleLbl="revTx" presStyleIdx="5" presStyleCnt="10"/>
      <dgm:spPr/>
      <dgm:t>
        <a:bodyPr/>
        <a:lstStyle/>
        <a:p>
          <a:endParaRPr lang="pt-BR"/>
        </a:p>
      </dgm:t>
    </dgm:pt>
    <dgm:pt modelId="{55C8A807-7198-4F76-AA70-302AF1138008}" type="pres">
      <dgm:prSet presAssocID="{5EDEBB63-5007-4CC2-9015-7BEA0FE54D4C}" presName="vert2" presStyleCnt="0"/>
      <dgm:spPr/>
    </dgm:pt>
    <dgm:pt modelId="{618874D7-ED6E-4490-B7BB-9DFCB91AF04F}" type="pres">
      <dgm:prSet presAssocID="{5EDEBB63-5007-4CC2-9015-7BEA0FE54D4C}" presName="thinLine2b" presStyleLbl="callout" presStyleIdx="3" presStyleCnt="7"/>
      <dgm:spPr/>
    </dgm:pt>
    <dgm:pt modelId="{1BE365A5-EC85-4E71-9F7B-E03052073F43}" type="pres">
      <dgm:prSet presAssocID="{5EDEBB63-5007-4CC2-9015-7BEA0FE54D4C}" presName="vertSpace2b" presStyleCnt="0"/>
      <dgm:spPr/>
    </dgm:pt>
    <dgm:pt modelId="{CA20FEE2-A34E-4B26-B59C-CD11B713676C}" type="pres">
      <dgm:prSet presAssocID="{8506CFAB-902E-47F1-9D54-1067FD462655}" presName="horz2" presStyleCnt="0"/>
      <dgm:spPr/>
    </dgm:pt>
    <dgm:pt modelId="{63481C0B-40B1-47FF-98FC-51B1DBE570CA}" type="pres">
      <dgm:prSet presAssocID="{8506CFAB-902E-47F1-9D54-1067FD462655}" presName="horzSpace2" presStyleCnt="0"/>
      <dgm:spPr/>
    </dgm:pt>
    <dgm:pt modelId="{734AA5E0-2DDF-409A-93FE-646316635FEC}" type="pres">
      <dgm:prSet presAssocID="{8506CFAB-902E-47F1-9D54-1067FD462655}" presName="tx2" presStyleLbl="revTx" presStyleIdx="6" presStyleCnt="10"/>
      <dgm:spPr/>
      <dgm:t>
        <a:bodyPr/>
        <a:lstStyle/>
        <a:p>
          <a:endParaRPr lang="pt-BR"/>
        </a:p>
      </dgm:t>
    </dgm:pt>
    <dgm:pt modelId="{7E5DB0B7-126D-4E81-8251-0D70022B0B10}" type="pres">
      <dgm:prSet presAssocID="{8506CFAB-902E-47F1-9D54-1067FD462655}" presName="vert2" presStyleCnt="0"/>
      <dgm:spPr/>
    </dgm:pt>
    <dgm:pt modelId="{C207BD8F-5B3B-4ADB-BAEF-5AFE088A1713}" type="pres">
      <dgm:prSet presAssocID="{8506CFAB-902E-47F1-9D54-1067FD462655}" presName="thinLine2b" presStyleLbl="callout" presStyleIdx="4" presStyleCnt="7"/>
      <dgm:spPr/>
    </dgm:pt>
    <dgm:pt modelId="{734459AC-3EFE-43A8-9A25-20BB1579A2E1}" type="pres">
      <dgm:prSet presAssocID="{8506CFAB-902E-47F1-9D54-1067FD462655}" presName="vertSpace2b" presStyleCnt="0"/>
      <dgm:spPr/>
    </dgm:pt>
    <dgm:pt modelId="{A7D27DA6-3D8A-49E7-9B97-80D675CF8167}" type="pres">
      <dgm:prSet presAssocID="{F8FC9D26-794D-476B-8BE0-06F7767B1442}" presName="thickLine" presStyleLbl="alignNode1" presStyleIdx="2" presStyleCnt="3"/>
      <dgm:spPr/>
    </dgm:pt>
    <dgm:pt modelId="{BC8612CD-DBED-46D5-8844-D3538322385B}" type="pres">
      <dgm:prSet presAssocID="{F8FC9D26-794D-476B-8BE0-06F7767B1442}" presName="horz1" presStyleCnt="0"/>
      <dgm:spPr/>
    </dgm:pt>
    <dgm:pt modelId="{5F889DEE-14B1-4FD1-9902-8500C5F00DDB}" type="pres">
      <dgm:prSet presAssocID="{F8FC9D26-794D-476B-8BE0-06F7767B1442}" presName="tx1" presStyleLbl="revTx" presStyleIdx="7" presStyleCnt="10"/>
      <dgm:spPr/>
      <dgm:t>
        <a:bodyPr/>
        <a:lstStyle/>
        <a:p>
          <a:endParaRPr lang="pt-BR"/>
        </a:p>
      </dgm:t>
    </dgm:pt>
    <dgm:pt modelId="{C2AD0D03-4717-42CD-B366-BC23D2EC245F}" type="pres">
      <dgm:prSet presAssocID="{F8FC9D26-794D-476B-8BE0-06F7767B1442}" presName="vert1" presStyleCnt="0"/>
      <dgm:spPr/>
    </dgm:pt>
    <dgm:pt modelId="{FF1EA399-9372-42AE-B841-8D32CBDBDEB0}" type="pres">
      <dgm:prSet presAssocID="{9435F5F4-F4DA-46D2-B5CD-3CB42E2BFAAE}" presName="vertSpace2a" presStyleCnt="0"/>
      <dgm:spPr/>
    </dgm:pt>
    <dgm:pt modelId="{C001ED67-2A42-4C11-9D2A-BA415E9EDD12}" type="pres">
      <dgm:prSet presAssocID="{9435F5F4-F4DA-46D2-B5CD-3CB42E2BFAAE}" presName="horz2" presStyleCnt="0"/>
      <dgm:spPr/>
    </dgm:pt>
    <dgm:pt modelId="{0EB878A6-EEF7-4F4D-983A-C8B97137A9DE}" type="pres">
      <dgm:prSet presAssocID="{9435F5F4-F4DA-46D2-B5CD-3CB42E2BFAAE}" presName="horzSpace2" presStyleCnt="0"/>
      <dgm:spPr/>
    </dgm:pt>
    <dgm:pt modelId="{0900A2C8-6D2F-4D75-B208-795F0135CD34}" type="pres">
      <dgm:prSet presAssocID="{9435F5F4-F4DA-46D2-B5CD-3CB42E2BFAAE}" presName="tx2" presStyleLbl="revTx" presStyleIdx="8" presStyleCnt="10"/>
      <dgm:spPr/>
      <dgm:t>
        <a:bodyPr/>
        <a:lstStyle/>
        <a:p>
          <a:endParaRPr lang="pt-BR"/>
        </a:p>
      </dgm:t>
    </dgm:pt>
    <dgm:pt modelId="{7E24C634-FB9B-452C-AC9B-7A4564B68AD8}" type="pres">
      <dgm:prSet presAssocID="{9435F5F4-F4DA-46D2-B5CD-3CB42E2BFAAE}" presName="vert2" presStyleCnt="0"/>
      <dgm:spPr/>
    </dgm:pt>
    <dgm:pt modelId="{8C8FB417-43FA-48FB-994D-65EA43768BB8}" type="pres">
      <dgm:prSet presAssocID="{9435F5F4-F4DA-46D2-B5CD-3CB42E2BFAAE}" presName="thinLine2b" presStyleLbl="callout" presStyleIdx="5" presStyleCnt="7"/>
      <dgm:spPr/>
    </dgm:pt>
    <dgm:pt modelId="{DF39914A-4DE0-4A82-A3B5-A0366A16E922}" type="pres">
      <dgm:prSet presAssocID="{9435F5F4-F4DA-46D2-B5CD-3CB42E2BFAAE}" presName="vertSpace2b" presStyleCnt="0"/>
      <dgm:spPr/>
    </dgm:pt>
    <dgm:pt modelId="{D50D4777-1CFC-4306-9843-E0B9FAF741C6}" type="pres">
      <dgm:prSet presAssocID="{E212614C-1B12-4EC1-91DD-D5581FD07586}" presName="horz2" presStyleCnt="0"/>
      <dgm:spPr/>
    </dgm:pt>
    <dgm:pt modelId="{C7441C9A-275E-4AE6-8123-033E46BB1CB1}" type="pres">
      <dgm:prSet presAssocID="{E212614C-1B12-4EC1-91DD-D5581FD07586}" presName="horzSpace2" presStyleCnt="0"/>
      <dgm:spPr/>
    </dgm:pt>
    <dgm:pt modelId="{A2B4C15F-B573-450E-829A-53245CAD85F2}" type="pres">
      <dgm:prSet presAssocID="{E212614C-1B12-4EC1-91DD-D5581FD07586}" presName="tx2" presStyleLbl="revTx" presStyleIdx="9" presStyleCnt="10"/>
      <dgm:spPr/>
      <dgm:t>
        <a:bodyPr/>
        <a:lstStyle/>
        <a:p>
          <a:endParaRPr lang="pt-BR"/>
        </a:p>
      </dgm:t>
    </dgm:pt>
    <dgm:pt modelId="{DCBCD6FD-0ECA-480B-B2AE-14F7DD470A50}" type="pres">
      <dgm:prSet presAssocID="{E212614C-1B12-4EC1-91DD-D5581FD07586}" presName="vert2" presStyleCnt="0"/>
      <dgm:spPr/>
    </dgm:pt>
    <dgm:pt modelId="{35AFA9D3-A512-45FA-A7BC-6CD6C9AB74FE}" type="pres">
      <dgm:prSet presAssocID="{E212614C-1B12-4EC1-91DD-D5581FD07586}" presName="thinLine2b" presStyleLbl="callout" presStyleIdx="6" presStyleCnt="7"/>
      <dgm:spPr/>
    </dgm:pt>
    <dgm:pt modelId="{BB9D3E81-AD05-4960-9B0F-5FA7BFA89376}" type="pres">
      <dgm:prSet presAssocID="{E212614C-1B12-4EC1-91DD-D5581FD07586}" presName="vertSpace2b" presStyleCnt="0"/>
      <dgm:spPr/>
    </dgm:pt>
  </dgm:ptLst>
  <dgm:cxnLst>
    <dgm:cxn modelId="{D3E43832-3D0B-4623-8D40-15E098071198}" type="presOf" srcId="{85EB588B-D93C-497A-9831-7B83E94D3A92}" destId="{20F61F90-CC95-43CE-BA3B-40C8A8D56F34}" srcOrd="0" destOrd="0" presId="urn:microsoft.com/office/officeart/2008/layout/LinedList"/>
    <dgm:cxn modelId="{EA2A59A0-7EE7-4E8A-9A27-A9D8DE197D9D}" srcId="{FCD9D928-DFF3-4387-A756-531233BBDD65}" destId="{F8FC9D26-794D-476B-8BE0-06F7767B1442}" srcOrd="2" destOrd="0" parTransId="{454F4EC5-B4B5-43D1-8B2C-D9FCAC24FD40}" sibTransId="{2E2186E1-C0F0-495B-822F-14AA4CDE6B7E}"/>
    <dgm:cxn modelId="{C2A69076-C306-46D4-A39B-74B5222DEAF6}" type="presOf" srcId="{E212614C-1B12-4EC1-91DD-D5581FD07586}" destId="{A2B4C15F-B573-450E-829A-53245CAD85F2}" srcOrd="0" destOrd="0" presId="urn:microsoft.com/office/officeart/2008/layout/LinedList"/>
    <dgm:cxn modelId="{A5B31A0F-D853-482F-B727-44D00C4471A6}" type="presOf" srcId="{8506CFAB-902E-47F1-9D54-1067FD462655}" destId="{734AA5E0-2DDF-409A-93FE-646316635FEC}" srcOrd="0" destOrd="0" presId="urn:microsoft.com/office/officeart/2008/layout/LinedList"/>
    <dgm:cxn modelId="{E06229FD-DE51-49EA-A943-AA8C12AE780F}" type="presOf" srcId="{08C521B3-9A8D-411F-91C7-611D4279554D}" destId="{D6E9AE90-DBBE-45AA-A807-506D2554B8C8}" srcOrd="0" destOrd="0" presId="urn:microsoft.com/office/officeart/2008/layout/LinedList"/>
    <dgm:cxn modelId="{FF18747C-B096-462E-A99F-79A3ACF507C9}" type="presOf" srcId="{9435F5F4-F4DA-46D2-B5CD-3CB42E2BFAAE}" destId="{0900A2C8-6D2F-4D75-B208-795F0135CD34}" srcOrd="0" destOrd="0" presId="urn:microsoft.com/office/officeart/2008/layout/LinedList"/>
    <dgm:cxn modelId="{E3F4128E-545D-42D1-8F57-C9329B21EC4D}" type="presOf" srcId="{FCD9D928-DFF3-4387-A756-531233BBDD65}" destId="{5034F69E-B3BB-4B5A-9E26-6C96CD330C80}" srcOrd="0" destOrd="0" presId="urn:microsoft.com/office/officeart/2008/layout/LinedList"/>
    <dgm:cxn modelId="{2385A754-C18C-4080-8E33-C9AB0B5AB960}" type="presOf" srcId="{F1C5C28C-B0CA-4867-9745-5511E2A4CC3E}" destId="{C123F014-0BB4-4553-9A4B-782452C011F2}" srcOrd="0" destOrd="0" presId="urn:microsoft.com/office/officeart/2008/layout/LinedList"/>
    <dgm:cxn modelId="{18437217-335B-43C5-A208-BD8F610AC845}" srcId="{F8FC9D26-794D-476B-8BE0-06F7767B1442}" destId="{E212614C-1B12-4EC1-91DD-D5581FD07586}" srcOrd="1" destOrd="0" parTransId="{728398ED-B7DA-4546-A738-1068B67B2886}" sibTransId="{92A04921-C7FA-4356-AA60-1F27A29EB600}"/>
    <dgm:cxn modelId="{7886A794-AB2B-412D-8197-6D89B98F5E2C}" type="presOf" srcId="{F8FC9D26-794D-476B-8BE0-06F7767B1442}" destId="{5F889DEE-14B1-4FD1-9902-8500C5F00DDB}" srcOrd="0" destOrd="0" presId="urn:microsoft.com/office/officeart/2008/layout/LinedList"/>
    <dgm:cxn modelId="{B9F39410-95C3-4E9B-A498-340A3CA7290F}" srcId="{F8FC9D26-794D-476B-8BE0-06F7767B1442}" destId="{9435F5F4-F4DA-46D2-B5CD-3CB42E2BFAAE}" srcOrd="0" destOrd="0" parTransId="{7052DB22-721C-4177-92B9-850AF7450EE4}" sibTransId="{38A8C1AA-CFC7-4B42-94F8-89166A0F3AAB}"/>
    <dgm:cxn modelId="{ACF5642B-0874-484B-AD35-89CD0DE3FC26}" type="presOf" srcId="{5EDEBB63-5007-4CC2-9015-7BEA0FE54D4C}" destId="{9666AA67-6E25-4340-96AF-ED293B3811C6}" srcOrd="0" destOrd="0" presId="urn:microsoft.com/office/officeart/2008/layout/LinedList"/>
    <dgm:cxn modelId="{DEE09AD3-6246-495E-A973-7FD864430362}" srcId="{FCD9D928-DFF3-4387-A756-531233BBDD65}" destId="{EF6E61E3-D61E-4267-9DA6-28DDFA1C5FAB}" srcOrd="0" destOrd="0" parTransId="{F10BF274-4832-48E3-9096-F40D2A0830AF}" sibTransId="{7371F96B-362C-43B8-B983-00BA1B033A89}"/>
    <dgm:cxn modelId="{A7EB62EF-F45C-42BC-ACE4-2EE8CF325111}" srcId="{EF6E61E3-D61E-4267-9DA6-28DDFA1C5FAB}" destId="{85EB588B-D93C-497A-9831-7B83E94D3A92}" srcOrd="0" destOrd="0" parTransId="{D43E85AC-AB4E-408B-9C8E-198EC154C7F4}" sibTransId="{D891CC8F-AF08-4E2E-83CF-93D30C4C38A4}"/>
    <dgm:cxn modelId="{4D4A67A6-8CBA-4869-AF44-B8E80B185305}" srcId="{F1C5C28C-B0CA-4867-9745-5511E2A4CC3E}" destId="{8506CFAB-902E-47F1-9D54-1067FD462655}" srcOrd="1" destOrd="0" parTransId="{17600AF6-84CD-42C1-8AC1-6D5564326B83}" sibTransId="{307C079A-B5C6-4D46-BD96-BA3BD1FDABE9}"/>
    <dgm:cxn modelId="{9917453B-10BF-427A-AD79-D5438820361D}" srcId="{F1C5C28C-B0CA-4867-9745-5511E2A4CC3E}" destId="{5EDEBB63-5007-4CC2-9015-7BEA0FE54D4C}" srcOrd="0" destOrd="0" parTransId="{B8E5337C-8026-4BDB-994C-33C3D01C0C9B}" sibTransId="{E0E1C782-3F0A-4CF7-B3BF-EBAF7EB97233}"/>
    <dgm:cxn modelId="{9DE74271-71ED-49A0-82D5-8624DD77BA70}" srcId="{EF6E61E3-D61E-4267-9DA6-28DDFA1C5FAB}" destId="{08C521B3-9A8D-411F-91C7-611D4279554D}" srcOrd="1" destOrd="0" parTransId="{DE8957B4-6FFA-42E4-A432-769ED8EAFCD7}" sibTransId="{F5C7FEF7-76CE-4804-BB43-9172127785DD}"/>
    <dgm:cxn modelId="{71CE3CB9-86E3-43E4-8600-6D698029A2B6}" srcId="{EF6E61E3-D61E-4267-9DA6-28DDFA1C5FAB}" destId="{2FEAC958-3EE7-4BC1-B75D-CEB425B46C37}" srcOrd="2" destOrd="0" parTransId="{421B1B7D-8CE9-4284-9BDE-1D7131ABED09}" sibTransId="{E525B012-7EC3-4F44-9CC1-A0BD2271DFA9}"/>
    <dgm:cxn modelId="{53D70F31-8580-46B6-A893-99F8667750AF}" type="presOf" srcId="{2FEAC958-3EE7-4BC1-B75D-CEB425B46C37}" destId="{328F5E6F-3C5B-439D-B84B-44DF2434EBB1}" srcOrd="0" destOrd="0" presId="urn:microsoft.com/office/officeart/2008/layout/LinedList"/>
    <dgm:cxn modelId="{1BCA08A6-4D85-428F-8DFE-AA1BF6277765}" type="presOf" srcId="{EF6E61E3-D61E-4267-9DA6-28DDFA1C5FAB}" destId="{B4D874B8-311A-4FE7-ACD0-4AB95C8020EC}" srcOrd="0" destOrd="0" presId="urn:microsoft.com/office/officeart/2008/layout/LinedList"/>
    <dgm:cxn modelId="{47A43877-D5D9-4771-B9C1-00C08A66EC9E}" srcId="{FCD9D928-DFF3-4387-A756-531233BBDD65}" destId="{F1C5C28C-B0CA-4867-9745-5511E2A4CC3E}" srcOrd="1" destOrd="0" parTransId="{4EB8AD91-7236-4FEC-89F4-0EEF975F2B7E}" sibTransId="{7550F392-0C3E-4EE2-8C62-14D19B10D1FE}"/>
    <dgm:cxn modelId="{F0EC6A6A-6A3E-4B4F-AE24-D7D1BD80B96B}" type="presParOf" srcId="{5034F69E-B3BB-4B5A-9E26-6C96CD330C80}" destId="{494A91EA-FB56-4FCB-8F05-E8DD224F2552}" srcOrd="0" destOrd="0" presId="urn:microsoft.com/office/officeart/2008/layout/LinedList"/>
    <dgm:cxn modelId="{A14DC1E0-564A-463E-A41F-7F0BD57A0EA5}" type="presParOf" srcId="{5034F69E-B3BB-4B5A-9E26-6C96CD330C80}" destId="{DE82A516-14B6-4970-AC9A-6276F1CCBCB4}" srcOrd="1" destOrd="0" presId="urn:microsoft.com/office/officeart/2008/layout/LinedList"/>
    <dgm:cxn modelId="{AF8AD594-C39C-469D-8653-28C0DA7DD4C5}" type="presParOf" srcId="{DE82A516-14B6-4970-AC9A-6276F1CCBCB4}" destId="{B4D874B8-311A-4FE7-ACD0-4AB95C8020EC}" srcOrd="0" destOrd="0" presId="urn:microsoft.com/office/officeart/2008/layout/LinedList"/>
    <dgm:cxn modelId="{0CF7F223-7753-48E0-B475-1B82713E923B}" type="presParOf" srcId="{DE82A516-14B6-4970-AC9A-6276F1CCBCB4}" destId="{D46FBAD3-6AA3-4DF9-9DAF-7B10D920F3F2}" srcOrd="1" destOrd="0" presId="urn:microsoft.com/office/officeart/2008/layout/LinedList"/>
    <dgm:cxn modelId="{82D92EED-1957-4BF3-B7B0-B47E63607824}" type="presParOf" srcId="{D46FBAD3-6AA3-4DF9-9DAF-7B10D920F3F2}" destId="{EDDB79FC-F7FF-4441-A0F1-4BD92EA4FA23}" srcOrd="0" destOrd="0" presId="urn:microsoft.com/office/officeart/2008/layout/LinedList"/>
    <dgm:cxn modelId="{3F327399-DD20-4AA2-92D9-27B63E8002D6}" type="presParOf" srcId="{D46FBAD3-6AA3-4DF9-9DAF-7B10D920F3F2}" destId="{24655C46-50FB-4708-9F8B-B70EC376CEEC}" srcOrd="1" destOrd="0" presId="urn:microsoft.com/office/officeart/2008/layout/LinedList"/>
    <dgm:cxn modelId="{A01F8887-4C6C-4097-9F39-3F80E30948FA}" type="presParOf" srcId="{24655C46-50FB-4708-9F8B-B70EC376CEEC}" destId="{EE2B9FEC-591A-49BA-AF2C-99BC3A3B9652}" srcOrd="0" destOrd="0" presId="urn:microsoft.com/office/officeart/2008/layout/LinedList"/>
    <dgm:cxn modelId="{48165F16-7E45-4322-87EC-3581BD1E08B3}" type="presParOf" srcId="{24655C46-50FB-4708-9F8B-B70EC376CEEC}" destId="{20F61F90-CC95-43CE-BA3B-40C8A8D56F34}" srcOrd="1" destOrd="0" presId="urn:microsoft.com/office/officeart/2008/layout/LinedList"/>
    <dgm:cxn modelId="{299A27F0-2A4C-4112-A4EC-6251B05C4C78}" type="presParOf" srcId="{24655C46-50FB-4708-9F8B-B70EC376CEEC}" destId="{799D61D1-831B-41E0-B955-5380618C4323}" srcOrd="2" destOrd="0" presId="urn:microsoft.com/office/officeart/2008/layout/LinedList"/>
    <dgm:cxn modelId="{DBB3847C-A8A1-448C-A111-B80C95F876C2}" type="presParOf" srcId="{D46FBAD3-6AA3-4DF9-9DAF-7B10D920F3F2}" destId="{D158DDBC-3C5F-45B5-AB11-9B30D4B9BBC4}" srcOrd="2" destOrd="0" presId="urn:microsoft.com/office/officeart/2008/layout/LinedList"/>
    <dgm:cxn modelId="{762B774C-46ED-434B-9824-D9526F8417FF}" type="presParOf" srcId="{D46FBAD3-6AA3-4DF9-9DAF-7B10D920F3F2}" destId="{1C0E636E-2E5D-41D6-9978-1BDB5748FD30}" srcOrd="3" destOrd="0" presId="urn:microsoft.com/office/officeart/2008/layout/LinedList"/>
    <dgm:cxn modelId="{841C740B-7645-4471-8EEF-266A29C72CEA}" type="presParOf" srcId="{D46FBAD3-6AA3-4DF9-9DAF-7B10D920F3F2}" destId="{F3C8D30F-C090-4608-A894-38232C65B9E1}" srcOrd="4" destOrd="0" presId="urn:microsoft.com/office/officeart/2008/layout/LinedList"/>
    <dgm:cxn modelId="{EA600FED-4F59-4E55-8034-C69A03A901D4}" type="presParOf" srcId="{F3C8D30F-C090-4608-A894-38232C65B9E1}" destId="{4B91AD29-49C4-4004-A0EC-A19EBBA3CFF3}" srcOrd="0" destOrd="0" presId="urn:microsoft.com/office/officeart/2008/layout/LinedList"/>
    <dgm:cxn modelId="{D743BA8C-EAC2-4758-9774-41CB8820FC4D}" type="presParOf" srcId="{F3C8D30F-C090-4608-A894-38232C65B9E1}" destId="{D6E9AE90-DBBE-45AA-A807-506D2554B8C8}" srcOrd="1" destOrd="0" presId="urn:microsoft.com/office/officeart/2008/layout/LinedList"/>
    <dgm:cxn modelId="{084D8F40-A4E7-40B5-BAE5-6665A15504B7}" type="presParOf" srcId="{F3C8D30F-C090-4608-A894-38232C65B9E1}" destId="{0AE5FD76-FC96-4036-A7D8-7C45C86A94D6}" srcOrd="2" destOrd="0" presId="urn:microsoft.com/office/officeart/2008/layout/LinedList"/>
    <dgm:cxn modelId="{5395DC49-6349-4D9E-B7EC-275FA29F88BE}" type="presParOf" srcId="{D46FBAD3-6AA3-4DF9-9DAF-7B10D920F3F2}" destId="{450E1908-DA79-4167-81D0-0A74564C56F7}" srcOrd="5" destOrd="0" presId="urn:microsoft.com/office/officeart/2008/layout/LinedList"/>
    <dgm:cxn modelId="{08B0718B-C316-46A9-8BF4-423504568148}" type="presParOf" srcId="{D46FBAD3-6AA3-4DF9-9DAF-7B10D920F3F2}" destId="{8FA2FE79-9047-4E1E-8884-7341023B346A}" srcOrd="6" destOrd="0" presId="urn:microsoft.com/office/officeart/2008/layout/LinedList"/>
    <dgm:cxn modelId="{CBDF8739-1FE3-4AB9-BFC7-FE3CDA637B8D}" type="presParOf" srcId="{D46FBAD3-6AA3-4DF9-9DAF-7B10D920F3F2}" destId="{BA94432E-FBD2-4428-AA39-EA145CAF5434}" srcOrd="7" destOrd="0" presId="urn:microsoft.com/office/officeart/2008/layout/LinedList"/>
    <dgm:cxn modelId="{B34BF95C-97CB-4064-AB21-357D56AFDA8F}" type="presParOf" srcId="{BA94432E-FBD2-4428-AA39-EA145CAF5434}" destId="{839550EA-101E-47E8-BBA0-07A762FA2EDC}" srcOrd="0" destOrd="0" presId="urn:microsoft.com/office/officeart/2008/layout/LinedList"/>
    <dgm:cxn modelId="{8BB4B606-09CF-4783-9489-0FDEDC874DFA}" type="presParOf" srcId="{BA94432E-FBD2-4428-AA39-EA145CAF5434}" destId="{328F5E6F-3C5B-439D-B84B-44DF2434EBB1}" srcOrd="1" destOrd="0" presId="urn:microsoft.com/office/officeart/2008/layout/LinedList"/>
    <dgm:cxn modelId="{7A10B24A-696E-4B89-B470-E22C6D1DD5A6}" type="presParOf" srcId="{BA94432E-FBD2-4428-AA39-EA145CAF5434}" destId="{51665BA1-670B-4FE5-9138-845EA250F612}" srcOrd="2" destOrd="0" presId="urn:microsoft.com/office/officeart/2008/layout/LinedList"/>
    <dgm:cxn modelId="{1E278860-6A47-49F4-B179-9753A072AF0F}" type="presParOf" srcId="{D46FBAD3-6AA3-4DF9-9DAF-7B10D920F3F2}" destId="{A5288D80-61A7-46CC-AB68-09A0FEAC6D90}" srcOrd="8" destOrd="0" presId="urn:microsoft.com/office/officeart/2008/layout/LinedList"/>
    <dgm:cxn modelId="{B28D84AD-3CA2-4B55-90AB-C8CBCE08CEE0}" type="presParOf" srcId="{D46FBAD3-6AA3-4DF9-9DAF-7B10D920F3F2}" destId="{993ABE9D-9123-4B04-9979-42C624FD69D0}" srcOrd="9" destOrd="0" presId="urn:microsoft.com/office/officeart/2008/layout/LinedList"/>
    <dgm:cxn modelId="{F503F5E0-5C9D-4BA2-AAAA-BDC3110BC5AB}" type="presParOf" srcId="{5034F69E-B3BB-4B5A-9E26-6C96CD330C80}" destId="{DA233065-F709-416F-8D09-5955D73E89D7}" srcOrd="2" destOrd="0" presId="urn:microsoft.com/office/officeart/2008/layout/LinedList"/>
    <dgm:cxn modelId="{2F6D6FCD-F2A9-4658-BFE9-46722408FC47}" type="presParOf" srcId="{5034F69E-B3BB-4B5A-9E26-6C96CD330C80}" destId="{33CF6266-8618-4332-A36C-A4BE18D00460}" srcOrd="3" destOrd="0" presId="urn:microsoft.com/office/officeart/2008/layout/LinedList"/>
    <dgm:cxn modelId="{04FA616D-448E-43A3-B79F-2B8510486386}" type="presParOf" srcId="{33CF6266-8618-4332-A36C-A4BE18D00460}" destId="{C123F014-0BB4-4553-9A4B-782452C011F2}" srcOrd="0" destOrd="0" presId="urn:microsoft.com/office/officeart/2008/layout/LinedList"/>
    <dgm:cxn modelId="{9A70A212-0A5D-475A-AA2B-D94F46E9D2C8}" type="presParOf" srcId="{33CF6266-8618-4332-A36C-A4BE18D00460}" destId="{3A1043AF-DD64-4519-B5C8-38A278CD722C}" srcOrd="1" destOrd="0" presId="urn:microsoft.com/office/officeart/2008/layout/LinedList"/>
    <dgm:cxn modelId="{7DC4F225-E7A2-4176-B96B-32AE13676339}" type="presParOf" srcId="{3A1043AF-DD64-4519-B5C8-38A278CD722C}" destId="{D66122D0-ED79-4014-86D5-CCB893943151}" srcOrd="0" destOrd="0" presId="urn:microsoft.com/office/officeart/2008/layout/LinedList"/>
    <dgm:cxn modelId="{94A1065B-0E17-4034-AC8D-60800FEC782D}" type="presParOf" srcId="{3A1043AF-DD64-4519-B5C8-38A278CD722C}" destId="{84529B04-DF94-4601-81BD-F4F8EF06D114}" srcOrd="1" destOrd="0" presId="urn:microsoft.com/office/officeart/2008/layout/LinedList"/>
    <dgm:cxn modelId="{0D022930-6ADA-4D7A-8866-2D37740A736F}" type="presParOf" srcId="{84529B04-DF94-4601-81BD-F4F8EF06D114}" destId="{11CC352B-3935-4B1E-982C-D67C1F4954E1}" srcOrd="0" destOrd="0" presId="urn:microsoft.com/office/officeart/2008/layout/LinedList"/>
    <dgm:cxn modelId="{729B5C78-0FD1-47F4-86CD-661E9128B4CA}" type="presParOf" srcId="{84529B04-DF94-4601-81BD-F4F8EF06D114}" destId="{9666AA67-6E25-4340-96AF-ED293B3811C6}" srcOrd="1" destOrd="0" presId="urn:microsoft.com/office/officeart/2008/layout/LinedList"/>
    <dgm:cxn modelId="{3A6B3817-9798-460F-9FF7-AA542DDB2BBE}" type="presParOf" srcId="{84529B04-DF94-4601-81BD-F4F8EF06D114}" destId="{55C8A807-7198-4F76-AA70-302AF1138008}" srcOrd="2" destOrd="0" presId="urn:microsoft.com/office/officeart/2008/layout/LinedList"/>
    <dgm:cxn modelId="{283C0958-720B-4583-A9F4-F7C741EFE647}" type="presParOf" srcId="{3A1043AF-DD64-4519-B5C8-38A278CD722C}" destId="{618874D7-ED6E-4490-B7BB-9DFCB91AF04F}" srcOrd="2" destOrd="0" presId="urn:microsoft.com/office/officeart/2008/layout/LinedList"/>
    <dgm:cxn modelId="{15959547-7306-4BC4-ABB4-AFA9F4548DC7}" type="presParOf" srcId="{3A1043AF-DD64-4519-B5C8-38A278CD722C}" destId="{1BE365A5-EC85-4E71-9F7B-E03052073F43}" srcOrd="3" destOrd="0" presId="urn:microsoft.com/office/officeart/2008/layout/LinedList"/>
    <dgm:cxn modelId="{090777B5-9FE8-4EC3-8101-E242079D679D}" type="presParOf" srcId="{3A1043AF-DD64-4519-B5C8-38A278CD722C}" destId="{CA20FEE2-A34E-4B26-B59C-CD11B713676C}" srcOrd="4" destOrd="0" presId="urn:microsoft.com/office/officeart/2008/layout/LinedList"/>
    <dgm:cxn modelId="{BE0CD3E4-3B19-4FD1-A3D1-10CEC1C38984}" type="presParOf" srcId="{CA20FEE2-A34E-4B26-B59C-CD11B713676C}" destId="{63481C0B-40B1-47FF-98FC-51B1DBE570CA}" srcOrd="0" destOrd="0" presId="urn:microsoft.com/office/officeart/2008/layout/LinedList"/>
    <dgm:cxn modelId="{A4507B43-2BAD-4DFE-8C68-2F4545F95C74}" type="presParOf" srcId="{CA20FEE2-A34E-4B26-B59C-CD11B713676C}" destId="{734AA5E0-2DDF-409A-93FE-646316635FEC}" srcOrd="1" destOrd="0" presId="urn:microsoft.com/office/officeart/2008/layout/LinedList"/>
    <dgm:cxn modelId="{76702E86-E5DF-46D2-B5DC-B2F184F229DF}" type="presParOf" srcId="{CA20FEE2-A34E-4B26-B59C-CD11B713676C}" destId="{7E5DB0B7-126D-4E81-8251-0D70022B0B10}" srcOrd="2" destOrd="0" presId="urn:microsoft.com/office/officeart/2008/layout/LinedList"/>
    <dgm:cxn modelId="{9CDD23C6-6BBC-4B3C-BE29-751574545DCA}" type="presParOf" srcId="{3A1043AF-DD64-4519-B5C8-38A278CD722C}" destId="{C207BD8F-5B3B-4ADB-BAEF-5AFE088A1713}" srcOrd="5" destOrd="0" presId="urn:microsoft.com/office/officeart/2008/layout/LinedList"/>
    <dgm:cxn modelId="{3EC05FAF-6A2D-4A8E-B1B4-4257375D687D}" type="presParOf" srcId="{3A1043AF-DD64-4519-B5C8-38A278CD722C}" destId="{734459AC-3EFE-43A8-9A25-20BB1579A2E1}" srcOrd="6" destOrd="0" presId="urn:microsoft.com/office/officeart/2008/layout/LinedList"/>
    <dgm:cxn modelId="{234F750D-3DCC-41AB-8C7D-1607C283107A}" type="presParOf" srcId="{5034F69E-B3BB-4B5A-9E26-6C96CD330C80}" destId="{A7D27DA6-3D8A-49E7-9B97-80D675CF8167}" srcOrd="4" destOrd="0" presId="urn:microsoft.com/office/officeart/2008/layout/LinedList"/>
    <dgm:cxn modelId="{85036D0A-AE0F-4819-84BE-C3B476877C4F}" type="presParOf" srcId="{5034F69E-B3BB-4B5A-9E26-6C96CD330C80}" destId="{BC8612CD-DBED-46D5-8844-D3538322385B}" srcOrd="5" destOrd="0" presId="urn:microsoft.com/office/officeart/2008/layout/LinedList"/>
    <dgm:cxn modelId="{B04DFB11-5302-4D1A-BE43-0692CC608DED}" type="presParOf" srcId="{BC8612CD-DBED-46D5-8844-D3538322385B}" destId="{5F889DEE-14B1-4FD1-9902-8500C5F00DDB}" srcOrd="0" destOrd="0" presId="urn:microsoft.com/office/officeart/2008/layout/LinedList"/>
    <dgm:cxn modelId="{4C994D15-3447-4230-9925-C26523373270}" type="presParOf" srcId="{BC8612CD-DBED-46D5-8844-D3538322385B}" destId="{C2AD0D03-4717-42CD-B366-BC23D2EC245F}" srcOrd="1" destOrd="0" presId="urn:microsoft.com/office/officeart/2008/layout/LinedList"/>
    <dgm:cxn modelId="{AB5057B6-8A49-4224-8E61-AF4213AFD48B}" type="presParOf" srcId="{C2AD0D03-4717-42CD-B366-BC23D2EC245F}" destId="{FF1EA399-9372-42AE-B841-8D32CBDBDEB0}" srcOrd="0" destOrd="0" presId="urn:microsoft.com/office/officeart/2008/layout/LinedList"/>
    <dgm:cxn modelId="{5153F4A6-729E-47ED-B7A9-F04689C56278}" type="presParOf" srcId="{C2AD0D03-4717-42CD-B366-BC23D2EC245F}" destId="{C001ED67-2A42-4C11-9D2A-BA415E9EDD12}" srcOrd="1" destOrd="0" presId="urn:microsoft.com/office/officeart/2008/layout/LinedList"/>
    <dgm:cxn modelId="{94DD6EE4-E7D0-4666-80ED-20A33C1AE6D3}" type="presParOf" srcId="{C001ED67-2A42-4C11-9D2A-BA415E9EDD12}" destId="{0EB878A6-EEF7-4F4D-983A-C8B97137A9DE}" srcOrd="0" destOrd="0" presId="urn:microsoft.com/office/officeart/2008/layout/LinedList"/>
    <dgm:cxn modelId="{51EA928D-1DA9-4C2B-890F-F5C423E4D135}" type="presParOf" srcId="{C001ED67-2A42-4C11-9D2A-BA415E9EDD12}" destId="{0900A2C8-6D2F-4D75-B208-795F0135CD34}" srcOrd="1" destOrd="0" presId="urn:microsoft.com/office/officeart/2008/layout/LinedList"/>
    <dgm:cxn modelId="{03E975C0-1049-49C7-B444-ED2755C3D559}" type="presParOf" srcId="{C001ED67-2A42-4C11-9D2A-BA415E9EDD12}" destId="{7E24C634-FB9B-452C-AC9B-7A4564B68AD8}" srcOrd="2" destOrd="0" presId="urn:microsoft.com/office/officeart/2008/layout/LinedList"/>
    <dgm:cxn modelId="{D8BD4626-66C5-431C-93E6-A9EF548CF298}" type="presParOf" srcId="{C2AD0D03-4717-42CD-B366-BC23D2EC245F}" destId="{8C8FB417-43FA-48FB-994D-65EA43768BB8}" srcOrd="2" destOrd="0" presId="urn:microsoft.com/office/officeart/2008/layout/LinedList"/>
    <dgm:cxn modelId="{CD276A50-333D-46C8-92D5-E63E62854AC8}" type="presParOf" srcId="{C2AD0D03-4717-42CD-B366-BC23D2EC245F}" destId="{DF39914A-4DE0-4A82-A3B5-A0366A16E922}" srcOrd="3" destOrd="0" presId="urn:microsoft.com/office/officeart/2008/layout/LinedList"/>
    <dgm:cxn modelId="{9710BE76-7B02-4578-BCC2-29DCA8513872}" type="presParOf" srcId="{C2AD0D03-4717-42CD-B366-BC23D2EC245F}" destId="{D50D4777-1CFC-4306-9843-E0B9FAF741C6}" srcOrd="4" destOrd="0" presId="urn:microsoft.com/office/officeart/2008/layout/LinedList"/>
    <dgm:cxn modelId="{80E8336F-2F1B-41D3-844D-B45086925694}" type="presParOf" srcId="{D50D4777-1CFC-4306-9843-E0B9FAF741C6}" destId="{C7441C9A-275E-4AE6-8123-033E46BB1CB1}" srcOrd="0" destOrd="0" presId="urn:microsoft.com/office/officeart/2008/layout/LinedList"/>
    <dgm:cxn modelId="{DAD1089D-BC34-4E0A-9AAD-7EF4C24F8EF6}" type="presParOf" srcId="{D50D4777-1CFC-4306-9843-E0B9FAF741C6}" destId="{A2B4C15F-B573-450E-829A-53245CAD85F2}" srcOrd="1" destOrd="0" presId="urn:microsoft.com/office/officeart/2008/layout/LinedList"/>
    <dgm:cxn modelId="{F5268CFD-C313-45D8-854A-6BE5FA0E3FDC}" type="presParOf" srcId="{D50D4777-1CFC-4306-9843-E0B9FAF741C6}" destId="{DCBCD6FD-0ECA-480B-B2AE-14F7DD470A50}" srcOrd="2" destOrd="0" presId="urn:microsoft.com/office/officeart/2008/layout/LinedList"/>
    <dgm:cxn modelId="{58B0CC71-5557-401B-9906-81A71351DECA}" type="presParOf" srcId="{C2AD0D03-4717-42CD-B366-BC23D2EC245F}" destId="{35AFA9D3-A512-45FA-A7BC-6CD6C9AB74FE}" srcOrd="5" destOrd="0" presId="urn:microsoft.com/office/officeart/2008/layout/LinedList"/>
    <dgm:cxn modelId="{EEA5BE27-8DD4-4493-953A-D7107A30D483}" type="presParOf" srcId="{C2AD0D03-4717-42CD-B366-BC23D2EC245F}" destId="{BB9D3E81-AD05-4960-9B0F-5FA7BFA89376}" srcOrd="6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B4E357-18EB-42DA-A323-467A24E1DFCE}">
      <dsp:nvSpPr>
        <dsp:cNvPr id="0" name=""/>
        <dsp:cNvSpPr/>
      </dsp:nvSpPr>
      <dsp:spPr>
        <a:xfrm>
          <a:off x="1805" y="926703"/>
          <a:ext cx="552648" cy="552648"/>
        </a:xfrm>
        <a:prstGeom prst="chord">
          <a:avLst>
            <a:gd name="adj1" fmla="val 4800000"/>
            <a:gd name="adj2" fmla="val 1680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B23E9D-6ECD-4B91-AD70-DD9D0437677A}">
      <dsp:nvSpPr>
        <dsp:cNvPr id="0" name=""/>
        <dsp:cNvSpPr/>
      </dsp:nvSpPr>
      <dsp:spPr>
        <a:xfrm>
          <a:off x="57070" y="981967"/>
          <a:ext cx="442118" cy="442118"/>
        </a:xfrm>
        <a:prstGeom prst="pie">
          <a:avLst>
            <a:gd name="adj1" fmla="val 1404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701ED1-B2F1-4641-9861-2E31BE989A63}">
      <dsp:nvSpPr>
        <dsp:cNvPr id="0" name=""/>
        <dsp:cNvSpPr/>
      </dsp:nvSpPr>
      <dsp:spPr>
        <a:xfrm rot="16200000">
          <a:off x="-633739" y="2170162"/>
          <a:ext cx="1602680" cy="3315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 smtClean="0"/>
            <a:t>60 dias</a:t>
          </a:r>
          <a:endParaRPr lang="pt-BR" sz="2400" kern="1200" dirty="0"/>
        </a:p>
      </dsp:txBody>
      <dsp:txXfrm>
        <a:off x="-633739" y="2170162"/>
        <a:ext cx="1602680" cy="331589"/>
      </dsp:txXfrm>
    </dsp:sp>
    <dsp:sp modelId="{BDA2D086-CA92-4661-8F48-6A9E861575AD}">
      <dsp:nvSpPr>
        <dsp:cNvPr id="0" name=""/>
        <dsp:cNvSpPr/>
      </dsp:nvSpPr>
      <dsp:spPr>
        <a:xfrm>
          <a:off x="388659" y="926703"/>
          <a:ext cx="1105296" cy="2210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kern="1200" dirty="0" smtClean="0"/>
            <a:t>Venda OFF </a:t>
          </a:r>
          <a:r>
            <a:rPr lang="pt-BR" sz="1900" kern="1200" dirty="0" err="1" smtClean="0"/>
            <a:t>Line</a:t>
          </a:r>
          <a:r>
            <a:rPr lang="pt-BR" sz="1900" kern="1200" dirty="0" smtClean="0"/>
            <a:t> TV e Fixa R2</a:t>
          </a:r>
          <a:endParaRPr lang="pt-BR" sz="1900" kern="1200" dirty="0"/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- Aprendizado da Ferramenta</a:t>
          </a:r>
          <a:endParaRPr lang="pt-BR" sz="1200" kern="1200" dirty="0"/>
        </a:p>
      </dsp:txBody>
      <dsp:txXfrm>
        <a:off x="388659" y="926703"/>
        <a:ext cx="1105296" cy="2210593"/>
      </dsp:txXfrm>
    </dsp:sp>
    <dsp:sp modelId="{91B40E70-EC36-4D5A-833E-E138F26AF749}">
      <dsp:nvSpPr>
        <dsp:cNvPr id="0" name=""/>
        <dsp:cNvSpPr/>
      </dsp:nvSpPr>
      <dsp:spPr>
        <a:xfrm>
          <a:off x="1689373" y="926703"/>
          <a:ext cx="552648" cy="552648"/>
        </a:xfrm>
        <a:prstGeom prst="chord">
          <a:avLst>
            <a:gd name="adj1" fmla="val 4800000"/>
            <a:gd name="adj2" fmla="val 1680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D79983A-F60F-41EB-8989-CC5D6CE70EF6}">
      <dsp:nvSpPr>
        <dsp:cNvPr id="0" name=""/>
        <dsp:cNvSpPr/>
      </dsp:nvSpPr>
      <dsp:spPr>
        <a:xfrm>
          <a:off x="1744637" y="981967"/>
          <a:ext cx="442118" cy="442118"/>
        </a:xfrm>
        <a:prstGeom prst="pie">
          <a:avLst>
            <a:gd name="adj1" fmla="val 1188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5CAEFE-E40B-4562-AD54-7C69A49B2DBF}">
      <dsp:nvSpPr>
        <dsp:cNvPr id="0" name=""/>
        <dsp:cNvSpPr/>
      </dsp:nvSpPr>
      <dsp:spPr>
        <a:xfrm rot="16200000">
          <a:off x="1053827" y="2170162"/>
          <a:ext cx="1602680" cy="3315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 smtClean="0"/>
            <a:t>40</a:t>
          </a:r>
          <a:r>
            <a:rPr lang="pt-BR" sz="2400" kern="1200" baseline="0" dirty="0" smtClean="0"/>
            <a:t> dias</a:t>
          </a:r>
          <a:endParaRPr lang="pt-BR" sz="2400" kern="1200" dirty="0"/>
        </a:p>
      </dsp:txBody>
      <dsp:txXfrm>
        <a:off x="1053827" y="2170162"/>
        <a:ext cx="1602680" cy="331589"/>
      </dsp:txXfrm>
    </dsp:sp>
    <dsp:sp modelId="{F1BF70C7-85F7-4143-9415-D0FFA879C43D}">
      <dsp:nvSpPr>
        <dsp:cNvPr id="0" name=""/>
        <dsp:cNvSpPr/>
      </dsp:nvSpPr>
      <dsp:spPr>
        <a:xfrm>
          <a:off x="2076227" y="926703"/>
          <a:ext cx="1105296" cy="2210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kern="1200" dirty="0" smtClean="0"/>
            <a:t>TV ON-LINE</a:t>
          </a:r>
          <a:endParaRPr lang="pt-BR" sz="1900" kern="1200" dirty="0"/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- Interface apenas com </a:t>
          </a:r>
          <a:r>
            <a:rPr lang="pt-BR" sz="1200" kern="1200" dirty="0" err="1" smtClean="0"/>
            <a:t>Transact</a:t>
          </a:r>
          <a:endParaRPr lang="pt-BR" sz="1200" kern="1200" dirty="0"/>
        </a:p>
      </dsp:txBody>
      <dsp:txXfrm>
        <a:off x="2076227" y="926703"/>
        <a:ext cx="1105296" cy="2210593"/>
      </dsp:txXfrm>
    </dsp:sp>
    <dsp:sp modelId="{39056821-3F7A-4EC8-B089-05AF71C6A6BF}">
      <dsp:nvSpPr>
        <dsp:cNvPr id="0" name=""/>
        <dsp:cNvSpPr/>
      </dsp:nvSpPr>
      <dsp:spPr>
        <a:xfrm>
          <a:off x="3376940" y="926703"/>
          <a:ext cx="552648" cy="552648"/>
        </a:xfrm>
        <a:prstGeom prst="chord">
          <a:avLst>
            <a:gd name="adj1" fmla="val 4800000"/>
            <a:gd name="adj2" fmla="val 1680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8207C9-4855-4352-92C7-46C824CAA2F3}">
      <dsp:nvSpPr>
        <dsp:cNvPr id="0" name=""/>
        <dsp:cNvSpPr/>
      </dsp:nvSpPr>
      <dsp:spPr>
        <a:xfrm>
          <a:off x="3432205" y="981967"/>
          <a:ext cx="442118" cy="442118"/>
        </a:xfrm>
        <a:prstGeom prst="pie">
          <a:avLst>
            <a:gd name="adj1" fmla="val 972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5E3ED7-2857-43B7-BAA7-62585A9DB746}">
      <dsp:nvSpPr>
        <dsp:cNvPr id="0" name=""/>
        <dsp:cNvSpPr/>
      </dsp:nvSpPr>
      <dsp:spPr>
        <a:xfrm rot="16200000">
          <a:off x="2741394" y="2170162"/>
          <a:ext cx="1602680" cy="3315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 smtClean="0"/>
            <a:t>100 dias</a:t>
          </a:r>
        </a:p>
      </dsp:txBody>
      <dsp:txXfrm>
        <a:off x="2741394" y="2170162"/>
        <a:ext cx="1602680" cy="331589"/>
      </dsp:txXfrm>
    </dsp:sp>
    <dsp:sp modelId="{5DA42535-160F-4FCD-AA6C-47FD5B32A8BB}">
      <dsp:nvSpPr>
        <dsp:cNvPr id="0" name=""/>
        <dsp:cNvSpPr/>
      </dsp:nvSpPr>
      <dsp:spPr>
        <a:xfrm>
          <a:off x="3763794" y="926703"/>
          <a:ext cx="1105296" cy="2210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kern="1200" dirty="0" smtClean="0"/>
            <a:t>Fixa, Móvel, OCSF e Combos ON-LINE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- Interface apenas </a:t>
          </a:r>
          <a:r>
            <a:rPr lang="pt-BR" sz="1200" kern="1200" dirty="0" err="1" smtClean="0"/>
            <a:t>Transact</a:t>
          </a:r>
          <a:endParaRPr lang="pt-BR" sz="1200" kern="1200" dirty="0" smtClean="0"/>
        </a:p>
      </dsp:txBody>
      <dsp:txXfrm>
        <a:off x="3763794" y="926703"/>
        <a:ext cx="1105296" cy="2210593"/>
      </dsp:txXfrm>
    </dsp:sp>
    <dsp:sp modelId="{2F1B927A-397B-41C5-9438-9811BAF38C12}">
      <dsp:nvSpPr>
        <dsp:cNvPr id="0" name=""/>
        <dsp:cNvSpPr/>
      </dsp:nvSpPr>
      <dsp:spPr>
        <a:xfrm>
          <a:off x="5064507" y="926703"/>
          <a:ext cx="552648" cy="552648"/>
        </a:xfrm>
        <a:prstGeom prst="chord">
          <a:avLst>
            <a:gd name="adj1" fmla="val 4800000"/>
            <a:gd name="adj2" fmla="val 1680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899E9E-23B2-41B0-A00B-B83FEDCA3872}">
      <dsp:nvSpPr>
        <dsp:cNvPr id="0" name=""/>
        <dsp:cNvSpPr/>
      </dsp:nvSpPr>
      <dsp:spPr>
        <a:xfrm>
          <a:off x="5119772" y="981967"/>
          <a:ext cx="442118" cy="442118"/>
        </a:xfrm>
        <a:prstGeom prst="pie">
          <a:avLst>
            <a:gd name="adj1" fmla="val 756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743041-116D-49AB-84AE-A0890CDA6C0D}">
      <dsp:nvSpPr>
        <dsp:cNvPr id="0" name=""/>
        <dsp:cNvSpPr/>
      </dsp:nvSpPr>
      <dsp:spPr>
        <a:xfrm rot="16200000">
          <a:off x="4428961" y="2170162"/>
          <a:ext cx="1602680" cy="3315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 smtClean="0"/>
            <a:t>50 dias</a:t>
          </a:r>
        </a:p>
      </dsp:txBody>
      <dsp:txXfrm>
        <a:off x="4428961" y="2170162"/>
        <a:ext cx="1602680" cy="331589"/>
      </dsp:txXfrm>
    </dsp:sp>
    <dsp:sp modelId="{B6D0B285-713F-4CAE-BF56-6A1DEDE9DBA5}">
      <dsp:nvSpPr>
        <dsp:cNvPr id="0" name=""/>
        <dsp:cNvSpPr/>
      </dsp:nvSpPr>
      <dsp:spPr>
        <a:xfrm>
          <a:off x="5451361" y="926703"/>
          <a:ext cx="1312385" cy="2210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kern="1200" dirty="0" smtClean="0"/>
            <a:t>Integração Siebel, Cobrança, Faturamento, URA, </a:t>
          </a:r>
          <a:r>
            <a:rPr lang="pt-BR" sz="1500" kern="1200" dirty="0" err="1" smtClean="0"/>
            <a:t>etc</a:t>
          </a:r>
          <a:endParaRPr lang="pt-BR" sz="1500" kern="1200" dirty="0" smtClean="0"/>
        </a:p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- Enriquecimento de dados para maior assertividade</a:t>
          </a:r>
        </a:p>
      </dsp:txBody>
      <dsp:txXfrm>
        <a:off x="5451361" y="926703"/>
        <a:ext cx="1312385" cy="2210593"/>
      </dsp:txXfrm>
    </dsp:sp>
    <dsp:sp modelId="{60625F9E-4577-426F-B816-EB25F4FC379F}">
      <dsp:nvSpPr>
        <dsp:cNvPr id="0" name=""/>
        <dsp:cNvSpPr/>
      </dsp:nvSpPr>
      <dsp:spPr>
        <a:xfrm>
          <a:off x="6959163" y="926703"/>
          <a:ext cx="552648" cy="552648"/>
        </a:xfrm>
        <a:prstGeom prst="chord">
          <a:avLst>
            <a:gd name="adj1" fmla="val 4800000"/>
            <a:gd name="adj2" fmla="val 1680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E77255-9947-4915-AA77-90C0B18DEB79}">
      <dsp:nvSpPr>
        <dsp:cNvPr id="0" name=""/>
        <dsp:cNvSpPr/>
      </dsp:nvSpPr>
      <dsp:spPr>
        <a:xfrm>
          <a:off x="7014428" y="981967"/>
          <a:ext cx="442118" cy="442118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6EE90B-2719-4CE0-B9C7-2FDFC26685C7}">
      <dsp:nvSpPr>
        <dsp:cNvPr id="0" name=""/>
        <dsp:cNvSpPr/>
      </dsp:nvSpPr>
      <dsp:spPr>
        <a:xfrm rot="16200000">
          <a:off x="6323617" y="2170162"/>
          <a:ext cx="1602680" cy="3315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 smtClean="0"/>
            <a:t>20 dias</a:t>
          </a:r>
          <a:r>
            <a:rPr lang="pt-BR" sz="1200" kern="1200" dirty="0" smtClean="0"/>
            <a:t> </a:t>
          </a:r>
        </a:p>
      </dsp:txBody>
      <dsp:txXfrm>
        <a:off x="6323617" y="2170162"/>
        <a:ext cx="1602680" cy="331589"/>
      </dsp:txXfrm>
    </dsp:sp>
    <dsp:sp modelId="{8EE391ED-2FBD-49BB-8E03-B4BFE091C228}">
      <dsp:nvSpPr>
        <dsp:cNvPr id="0" name=""/>
        <dsp:cNvSpPr/>
      </dsp:nvSpPr>
      <dsp:spPr>
        <a:xfrm>
          <a:off x="7346017" y="926703"/>
          <a:ext cx="1105296" cy="2210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Aumento Produtividade </a:t>
          </a:r>
          <a:r>
            <a:rPr lang="pt-BR" sz="1200" kern="1200" dirty="0" err="1" smtClean="0"/>
            <a:t>PAs</a:t>
          </a:r>
          <a:endParaRPr lang="pt-BR" sz="1200" kern="1200" dirty="0" smtClean="0"/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- Criação das telas flexíveis  </a:t>
          </a:r>
        </a:p>
      </dsp:txBody>
      <dsp:txXfrm>
        <a:off x="7346017" y="926703"/>
        <a:ext cx="1105296" cy="221059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B4E357-18EB-42DA-A323-467A24E1DFCE}">
      <dsp:nvSpPr>
        <dsp:cNvPr id="0" name=""/>
        <dsp:cNvSpPr/>
      </dsp:nvSpPr>
      <dsp:spPr>
        <a:xfrm>
          <a:off x="1177" y="1137046"/>
          <a:ext cx="447476" cy="447476"/>
        </a:xfrm>
        <a:prstGeom prst="chord">
          <a:avLst>
            <a:gd name="adj1" fmla="val 4800000"/>
            <a:gd name="adj2" fmla="val 1680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B23E9D-6ECD-4B91-AD70-DD9D0437677A}">
      <dsp:nvSpPr>
        <dsp:cNvPr id="0" name=""/>
        <dsp:cNvSpPr/>
      </dsp:nvSpPr>
      <dsp:spPr>
        <a:xfrm>
          <a:off x="45925" y="1181794"/>
          <a:ext cx="357981" cy="357981"/>
        </a:xfrm>
        <a:prstGeom prst="pie">
          <a:avLst>
            <a:gd name="adj1" fmla="val 14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701ED1-B2F1-4641-9861-2E31BE989A63}">
      <dsp:nvSpPr>
        <dsp:cNvPr id="0" name=""/>
        <dsp:cNvSpPr/>
      </dsp:nvSpPr>
      <dsp:spPr>
        <a:xfrm rot="16200000">
          <a:off x="-513420" y="2143869"/>
          <a:ext cx="1297682" cy="2684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 smtClean="0"/>
            <a:t>60 dias</a:t>
          </a:r>
          <a:endParaRPr lang="pt-BR" sz="2400" kern="1200" dirty="0"/>
        </a:p>
      </dsp:txBody>
      <dsp:txXfrm>
        <a:off x="-513420" y="2143869"/>
        <a:ext cx="1297682" cy="268485"/>
      </dsp:txXfrm>
    </dsp:sp>
    <dsp:sp modelId="{BDA2D086-CA92-4661-8F48-6A9E861575AD}">
      <dsp:nvSpPr>
        <dsp:cNvPr id="0" name=""/>
        <dsp:cNvSpPr/>
      </dsp:nvSpPr>
      <dsp:spPr>
        <a:xfrm>
          <a:off x="314411" y="1137046"/>
          <a:ext cx="894953" cy="17899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kern="1200" dirty="0" smtClean="0"/>
            <a:t>Fraude LDI e Roaming</a:t>
          </a:r>
          <a:endParaRPr lang="pt-BR" sz="1600" kern="1200" dirty="0"/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- Tráfegos com maior Perda</a:t>
          </a:r>
          <a:endParaRPr lang="pt-BR" sz="1200" kern="1200" dirty="0"/>
        </a:p>
      </dsp:txBody>
      <dsp:txXfrm>
        <a:off x="314411" y="1137046"/>
        <a:ext cx="894953" cy="1789906"/>
      </dsp:txXfrm>
    </dsp:sp>
    <dsp:sp modelId="{91B40E70-EC36-4D5A-833E-E138F26AF749}">
      <dsp:nvSpPr>
        <dsp:cNvPr id="0" name=""/>
        <dsp:cNvSpPr/>
      </dsp:nvSpPr>
      <dsp:spPr>
        <a:xfrm>
          <a:off x="1367591" y="1137046"/>
          <a:ext cx="447476" cy="447476"/>
        </a:xfrm>
        <a:prstGeom prst="chord">
          <a:avLst>
            <a:gd name="adj1" fmla="val 4800000"/>
            <a:gd name="adj2" fmla="val 1680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D79983A-F60F-41EB-8989-CC5D6CE70EF6}">
      <dsp:nvSpPr>
        <dsp:cNvPr id="0" name=""/>
        <dsp:cNvSpPr/>
      </dsp:nvSpPr>
      <dsp:spPr>
        <a:xfrm>
          <a:off x="1412339" y="1181794"/>
          <a:ext cx="357981" cy="357981"/>
        </a:xfrm>
        <a:prstGeom prst="pie">
          <a:avLst>
            <a:gd name="adj1" fmla="val 126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5CAEFE-E40B-4562-AD54-7C69A49B2DBF}">
      <dsp:nvSpPr>
        <dsp:cNvPr id="0" name=""/>
        <dsp:cNvSpPr/>
      </dsp:nvSpPr>
      <dsp:spPr>
        <a:xfrm rot="16200000">
          <a:off x="852993" y="2143869"/>
          <a:ext cx="1297682" cy="2684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 smtClean="0"/>
            <a:t>30</a:t>
          </a:r>
          <a:r>
            <a:rPr lang="pt-BR" sz="2400" kern="1200" baseline="0" dirty="0" smtClean="0"/>
            <a:t> dias</a:t>
          </a:r>
          <a:endParaRPr lang="pt-BR" sz="2400" kern="1200" dirty="0"/>
        </a:p>
      </dsp:txBody>
      <dsp:txXfrm>
        <a:off x="852993" y="2143869"/>
        <a:ext cx="1297682" cy="268485"/>
      </dsp:txXfrm>
    </dsp:sp>
    <dsp:sp modelId="{F1BF70C7-85F7-4143-9415-D0FFA879C43D}">
      <dsp:nvSpPr>
        <dsp:cNvPr id="0" name=""/>
        <dsp:cNvSpPr/>
      </dsp:nvSpPr>
      <dsp:spPr>
        <a:xfrm>
          <a:off x="1680825" y="1137046"/>
          <a:ext cx="894953" cy="17899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kern="1200" dirty="0" smtClean="0"/>
            <a:t>Spam de SMS e </a:t>
          </a:r>
          <a:r>
            <a:rPr lang="pt-BR" sz="1600" kern="1200" dirty="0" err="1" smtClean="0"/>
            <a:t>Bypass</a:t>
          </a:r>
          <a:endParaRPr lang="pt-BR" sz="1600" kern="1200" dirty="0"/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200" kern="1200" dirty="0"/>
        </a:p>
      </dsp:txBody>
      <dsp:txXfrm>
        <a:off x="1680825" y="1137046"/>
        <a:ext cx="894953" cy="1789906"/>
      </dsp:txXfrm>
    </dsp:sp>
    <dsp:sp modelId="{39056821-3F7A-4EC8-B089-05AF71C6A6BF}">
      <dsp:nvSpPr>
        <dsp:cNvPr id="0" name=""/>
        <dsp:cNvSpPr/>
      </dsp:nvSpPr>
      <dsp:spPr>
        <a:xfrm>
          <a:off x="2734006" y="1137046"/>
          <a:ext cx="447476" cy="447476"/>
        </a:xfrm>
        <a:prstGeom prst="chord">
          <a:avLst>
            <a:gd name="adj1" fmla="val 4800000"/>
            <a:gd name="adj2" fmla="val 1680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8207C9-4855-4352-92C7-46C824CAA2F3}">
      <dsp:nvSpPr>
        <dsp:cNvPr id="0" name=""/>
        <dsp:cNvSpPr/>
      </dsp:nvSpPr>
      <dsp:spPr>
        <a:xfrm>
          <a:off x="2778754" y="1181794"/>
          <a:ext cx="357981" cy="357981"/>
        </a:xfrm>
        <a:prstGeom prst="pie">
          <a:avLst>
            <a:gd name="adj1" fmla="val 108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5E3ED7-2857-43B7-BAA7-62585A9DB746}">
      <dsp:nvSpPr>
        <dsp:cNvPr id="0" name=""/>
        <dsp:cNvSpPr/>
      </dsp:nvSpPr>
      <dsp:spPr>
        <a:xfrm rot="16200000">
          <a:off x="2219408" y="2143869"/>
          <a:ext cx="1297682" cy="2684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 smtClean="0"/>
            <a:t>110 dias</a:t>
          </a:r>
        </a:p>
      </dsp:txBody>
      <dsp:txXfrm>
        <a:off x="2219408" y="2143869"/>
        <a:ext cx="1297682" cy="268485"/>
      </dsp:txXfrm>
    </dsp:sp>
    <dsp:sp modelId="{5DA42535-160F-4FCD-AA6C-47FD5B32A8BB}">
      <dsp:nvSpPr>
        <dsp:cNvPr id="0" name=""/>
        <dsp:cNvSpPr/>
      </dsp:nvSpPr>
      <dsp:spPr>
        <a:xfrm>
          <a:off x="3047239" y="1137046"/>
          <a:ext cx="1137780" cy="17899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kern="1200" dirty="0" smtClean="0"/>
            <a:t>Detecção Fraude Subscrição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- Incluindo alarmes de Tráfego Voz Fixa e Móvel</a:t>
          </a:r>
        </a:p>
      </dsp:txBody>
      <dsp:txXfrm>
        <a:off x="3047239" y="1137046"/>
        <a:ext cx="1137780" cy="1789906"/>
      </dsp:txXfrm>
    </dsp:sp>
    <dsp:sp modelId="{2F1B927A-397B-41C5-9438-9811BAF38C12}">
      <dsp:nvSpPr>
        <dsp:cNvPr id="0" name=""/>
        <dsp:cNvSpPr/>
      </dsp:nvSpPr>
      <dsp:spPr>
        <a:xfrm>
          <a:off x="4343248" y="1137046"/>
          <a:ext cx="447476" cy="447476"/>
        </a:xfrm>
        <a:prstGeom prst="chord">
          <a:avLst>
            <a:gd name="adj1" fmla="val 4800000"/>
            <a:gd name="adj2" fmla="val 1680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899E9E-23B2-41B0-A00B-B83FEDCA3872}">
      <dsp:nvSpPr>
        <dsp:cNvPr id="0" name=""/>
        <dsp:cNvSpPr/>
      </dsp:nvSpPr>
      <dsp:spPr>
        <a:xfrm>
          <a:off x="4387996" y="1181794"/>
          <a:ext cx="357981" cy="357981"/>
        </a:xfrm>
        <a:prstGeom prst="pie">
          <a:avLst>
            <a:gd name="adj1" fmla="val 90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743041-116D-49AB-84AE-A0890CDA6C0D}">
      <dsp:nvSpPr>
        <dsp:cNvPr id="0" name=""/>
        <dsp:cNvSpPr/>
      </dsp:nvSpPr>
      <dsp:spPr>
        <a:xfrm rot="16200000">
          <a:off x="3828650" y="2143869"/>
          <a:ext cx="1297682" cy="2684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 smtClean="0"/>
            <a:t>15 dias</a:t>
          </a:r>
        </a:p>
      </dsp:txBody>
      <dsp:txXfrm>
        <a:off x="3828650" y="2143869"/>
        <a:ext cx="1297682" cy="268485"/>
      </dsp:txXfrm>
    </dsp:sp>
    <dsp:sp modelId="{B6D0B285-713F-4CAE-BF56-6A1DEDE9DBA5}">
      <dsp:nvSpPr>
        <dsp:cNvPr id="0" name=""/>
        <dsp:cNvSpPr/>
      </dsp:nvSpPr>
      <dsp:spPr>
        <a:xfrm>
          <a:off x="4656482" y="1137046"/>
          <a:ext cx="1062631" cy="17899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kern="1200" dirty="0" smtClean="0"/>
            <a:t>Alarmes Recarga </a:t>
          </a:r>
          <a:r>
            <a:rPr lang="pt-BR" sz="1600" kern="1200" dirty="0" err="1" smtClean="0"/>
            <a:t>Pre-Pago</a:t>
          </a:r>
          <a:endParaRPr lang="pt-BR" sz="1600" kern="1200" dirty="0" smtClean="0"/>
        </a:p>
      </dsp:txBody>
      <dsp:txXfrm>
        <a:off x="4656482" y="1137046"/>
        <a:ext cx="1062631" cy="1789906"/>
      </dsp:txXfrm>
    </dsp:sp>
    <dsp:sp modelId="{60625F9E-4577-426F-B816-EB25F4FC379F}">
      <dsp:nvSpPr>
        <dsp:cNvPr id="0" name=""/>
        <dsp:cNvSpPr/>
      </dsp:nvSpPr>
      <dsp:spPr>
        <a:xfrm>
          <a:off x="5877341" y="1137046"/>
          <a:ext cx="447476" cy="447476"/>
        </a:xfrm>
        <a:prstGeom prst="chord">
          <a:avLst>
            <a:gd name="adj1" fmla="val 4800000"/>
            <a:gd name="adj2" fmla="val 1680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E77255-9947-4915-AA77-90C0B18DEB79}">
      <dsp:nvSpPr>
        <dsp:cNvPr id="0" name=""/>
        <dsp:cNvSpPr/>
      </dsp:nvSpPr>
      <dsp:spPr>
        <a:xfrm>
          <a:off x="5922088" y="1181794"/>
          <a:ext cx="357981" cy="357981"/>
        </a:xfrm>
        <a:prstGeom prst="pie">
          <a:avLst>
            <a:gd name="adj1" fmla="val 72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6EE90B-2719-4CE0-B9C7-2FDFC26685C7}">
      <dsp:nvSpPr>
        <dsp:cNvPr id="0" name=""/>
        <dsp:cNvSpPr/>
      </dsp:nvSpPr>
      <dsp:spPr>
        <a:xfrm rot="16200000">
          <a:off x="5362743" y="2143869"/>
          <a:ext cx="1297682" cy="2684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 smtClean="0"/>
            <a:t>45 dias</a:t>
          </a:r>
          <a:r>
            <a:rPr lang="pt-BR" sz="1200" kern="1200" dirty="0" smtClean="0"/>
            <a:t> </a:t>
          </a:r>
        </a:p>
      </dsp:txBody>
      <dsp:txXfrm>
        <a:off x="5362743" y="2143869"/>
        <a:ext cx="1297682" cy="268485"/>
      </dsp:txXfrm>
    </dsp:sp>
    <dsp:sp modelId="{8EE391ED-2FBD-49BB-8E03-B4BFE091C228}">
      <dsp:nvSpPr>
        <dsp:cNvPr id="0" name=""/>
        <dsp:cNvSpPr/>
      </dsp:nvSpPr>
      <dsp:spPr>
        <a:xfrm>
          <a:off x="6190574" y="1137046"/>
          <a:ext cx="894953" cy="17899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kern="1200" dirty="0" smtClean="0"/>
            <a:t>Criação de telas operação Detecção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- Criação das telas flexíveis  </a:t>
          </a:r>
        </a:p>
      </dsp:txBody>
      <dsp:txXfrm>
        <a:off x="6190574" y="1137046"/>
        <a:ext cx="894953" cy="1789906"/>
      </dsp:txXfrm>
    </dsp:sp>
    <dsp:sp modelId="{A23886D0-B6BE-466B-92EB-8D9F9DCE7FC7}">
      <dsp:nvSpPr>
        <dsp:cNvPr id="0" name=""/>
        <dsp:cNvSpPr/>
      </dsp:nvSpPr>
      <dsp:spPr>
        <a:xfrm>
          <a:off x="7243755" y="1137046"/>
          <a:ext cx="447476" cy="447476"/>
        </a:xfrm>
        <a:prstGeom prst="chord">
          <a:avLst>
            <a:gd name="adj1" fmla="val 4800000"/>
            <a:gd name="adj2" fmla="val 1680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3DAC5-2266-4CDF-809F-BB75D44472CC}">
      <dsp:nvSpPr>
        <dsp:cNvPr id="0" name=""/>
        <dsp:cNvSpPr/>
      </dsp:nvSpPr>
      <dsp:spPr>
        <a:xfrm>
          <a:off x="7288503" y="1181794"/>
          <a:ext cx="357981" cy="357981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AE3BF3-E6F2-499F-BDF2-FC9833AEBD48}">
      <dsp:nvSpPr>
        <dsp:cNvPr id="0" name=""/>
        <dsp:cNvSpPr/>
      </dsp:nvSpPr>
      <dsp:spPr>
        <a:xfrm rot="16200000">
          <a:off x="6729157" y="2143869"/>
          <a:ext cx="1297682" cy="2684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 smtClean="0"/>
            <a:t>75 dias</a:t>
          </a:r>
        </a:p>
      </dsp:txBody>
      <dsp:txXfrm>
        <a:off x="6729157" y="2143869"/>
        <a:ext cx="1297682" cy="268485"/>
      </dsp:txXfrm>
    </dsp:sp>
    <dsp:sp modelId="{F860D00E-6336-42CE-8CB8-5C4A7F9E7A95}">
      <dsp:nvSpPr>
        <dsp:cNvPr id="0" name=""/>
        <dsp:cNvSpPr/>
      </dsp:nvSpPr>
      <dsp:spPr>
        <a:xfrm>
          <a:off x="7556989" y="1137046"/>
          <a:ext cx="894953" cy="17899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kern="1200" dirty="0" smtClean="0"/>
            <a:t>Pós-tratamento das fraudes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- NOBILL, Isenção de Cobrança, Cancelamento de </a:t>
          </a:r>
          <a:r>
            <a:rPr lang="pt-BR" sz="1000" kern="1200" dirty="0" err="1" smtClean="0"/>
            <a:t>faturas,etc</a:t>
          </a:r>
          <a:r>
            <a:rPr lang="pt-BR" sz="1200" kern="1200" dirty="0" smtClean="0"/>
            <a:t>.</a:t>
          </a:r>
        </a:p>
      </dsp:txBody>
      <dsp:txXfrm>
        <a:off x="7556989" y="1137046"/>
        <a:ext cx="894953" cy="178990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4A91EA-FB56-4FCB-8F05-E8DD224F2552}">
      <dsp:nvSpPr>
        <dsp:cNvPr id="0" name=""/>
        <dsp:cNvSpPr/>
      </dsp:nvSpPr>
      <dsp:spPr>
        <a:xfrm>
          <a:off x="0" y="2300"/>
          <a:ext cx="789406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D874B8-311A-4FE7-ACD0-4AB95C8020EC}">
      <dsp:nvSpPr>
        <dsp:cNvPr id="0" name=""/>
        <dsp:cNvSpPr/>
      </dsp:nvSpPr>
      <dsp:spPr>
        <a:xfrm>
          <a:off x="0" y="2300"/>
          <a:ext cx="1578812" cy="15687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 smtClean="0"/>
            <a:t>Processo</a:t>
          </a:r>
          <a:endParaRPr lang="pt-BR" sz="2400" kern="1200" dirty="0"/>
        </a:p>
      </dsp:txBody>
      <dsp:txXfrm>
        <a:off x="0" y="2300"/>
        <a:ext cx="1578812" cy="1568781"/>
      </dsp:txXfrm>
    </dsp:sp>
    <dsp:sp modelId="{20F61F90-CC95-43CE-BA3B-40C8A8D56F34}">
      <dsp:nvSpPr>
        <dsp:cNvPr id="0" name=""/>
        <dsp:cNvSpPr/>
      </dsp:nvSpPr>
      <dsp:spPr>
        <a:xfrm>
          <a:off x="1697222" y="26812"/>
          <a:ext cx="6196837" cy="4902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1" kern="1200" dirty="0" smtClean="0"/>
            <a:t>Revisar processo de venda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/>
            <a:t>- Vendedor hoje tem liberdade de imputar várias vendas para o mesmo CPF, “fugindo” das analise de fraudes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/>
            <a:t>- Incluir novos campos no momento da Venda  ( Identidade, </a:t>
          </a:r>
          <a:r>
            <a:rPr lang="pt-BR" sz="900" kern="1200" dirty="0" err="1" smtClean="0"/>
            <a:t>tel</a:t>
          </a:r>
          <a:r>
            <a:rPr lang="pt-BR" sz="900" kern="1200" dirty="0" smtClean="0"/>
            <a:t> Binado, </a:t>
          </a:r>
          <a:r>
            <a:rPr lang="pt-BR" sz="900" kern="1200" dirty="0" err="1" smtClean="0"/>
            <a:t>etc</a:t>
          </a:r>
          <a:r>
            <a:rPr lang="pt-BR" sz="900" kern="1200" dirty="0" smtClean="0"/>
            <a:t>)</a:t>
          </a:r>
        </a:p>
      </dsp:txBody>
      <dsp:txXfrm>
        <a:off x="1697222" y="26812"/>
        <a:ext cx="6196837" cy="490244"/>
      </dsp:txXfrm>
    </dsp:sp>
    <dsp:sp modelId="{D158DDBC-3C5F-45B5-AB11-9B30D4B9BBC4}">
      <dsp:nvSpPr>
        <dsp:cNvPr id="0" name=""/>
        <dsp:cNvSpPr/>
      </dsp:nvSpPr>
      <dsp:spPr>
        <a:xfrm>
          <a:off x="1578811" y="517056"/>
          <a:ext cx="631524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6E9AE90-DBBE-45AA-A807-506D2554B8C8}">
      <dsp:nvSpPr>
        <dsp:cNvPr id="0" name=""/>
        <dsp:cNvSpPr/>
      </dsp:nvSpPr>
      <dsp:spPr>
        <a:xfrm>
          <a:off x="1697222" y="541569"/>
          <a:ext cx="6196837" cy="4902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1" kern="1200" dirty="0" smtClean="0"/>
            <a:t>Aumentar vendas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0" kern="1200" dirty="0" smtClean="0"/>
            <a:t>- Evoluir as regras de negativa da venda nos casos de erro de cadastro e sem contato para  negar nos cenários de alto risco</a:t>
          </a:r>
          <a:endParaRPr lang="pt-BR" sz="900" kern="1200" dirty="0" smtClean="0"/>
        </a:p>
      </dsp:txBody>
      <dsp:txXfrm>
        <a:off x="1697222" y="541569"/>
        <a:ext cx="6196837" cy="490244"/>
      </dsp:txXfrm>
    </dsp:sp>
    <dsp:sp modelId="{450E1908-DA79-4167-81D0-0A74564C56F7}">
      <dsp:nvSpPr>
        <dsp:cNvPr id="0" name=""/>
        <dsp:cNvSpPr/>
      </dsp:nvSpPr>
      <dsp:spPr>
        <a:xfrm>
          <a:off x="1578811" y="1031813"/>
          <a:ext cx="631524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28F5E6F-3C5B-439D-B84B-44DF2434EBB1}">
      <dsp:nvSpPr>
        <dsp:cNvPr id="0" name=""/>
        <dsp:cNvSpPr/>
      </dsp:nvSpPr>
      <dsp:spPr>
        <a:xfrm>
          <a:off x="1697222" y="1056325"/>
          <a:ext cx="6196837" cy="4902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1" kern="1200" dirty="0" smtClean="0"/>
            <a:t>Alteração processo BPO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0" kern="1200" dirty="0" smtClean="0"/>
            <a:t>- Necessidade do BPO para  especificação/teste/treinamento do processo de Detecção </a:t>
          </a:r>
          <a:endParaRPr lang="pt-BR" sz="900" b="0" kern="1200" dirty="0"/>
        </a:p>
      </dsp:txBody>
      <dsp:txXfrm>
        <a:off x="1697222" y="1056325"/>
        <a:ext cx="6196837" cy="490244"/>
      </dsp:txXfrm>
    </dsp:sp>
    <dsp:sp modelId="{A5288D80-61A7-46CC-AB68-09A0FEAC6D90}">
      <dsp:nvSpPr>
        <dsp:cNvPr id="0" name=""/>
        <dsp:cNvSpPr/>
      </dsp:nvSpPr>
      <dsp:spPr>
        <a:xfrm>
          <a:off x="1578811" y="1546569"/>
          <a:ext cx="631524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233065-F709-416F-8D09-5955D73E89D7}">
      <dsp:nvSpPr>
        <dsp:cNvPr id="0" name=""/>
        <dsp:cNvSpPr/>
      </dsp:nvSpPr>
      <dsp:spPr>
        <a:xfrm>
          <a:off x="0" y="1571082"/>
          <a:ext cx="789406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23F014-0BB4-4553-9A4B-782452C011F2}">
      <dsp:nvSpPr>
        <dsp:cNvPr id="0" name=""/>
        <dsp:cNvSpPr/>
      </dsp:nvSpPr>
      <dsp:spPr>
        <a:xfrm>
          <a:off x="0" y="1571082"/>
          <a:ext cx="1578812" cy="15687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 smtClean="0"/>
            <a:t>Sistema</a:t>
          </a:r>
          <a:endParaRPr lang="pt-BR" sz="2400" kern="1200" dirty="0"/>
        </a:p>
      </dsp:txBody>
      <dsp:txXfrm>
        <a:off x="0" y="1571082"/>
        <a:ext cx="1578812" cy="1568781"/>
      </dsp:txXfrm>
    </dsp:sp>
    <dsp:sp modelId="{9666AA67-6E25-4340-96AF-ED293B3811C6}">
      <dsp:nvSpPr>
        <dsp:cNvPr id="0" name=""/>
        <dsp:cNvSpPr/>
      </dsp:nvSpPr>
      <dsp:spPr>
        <a:xfrm>
          <a:off x="1697222" y="1607544"/>
          <a:ext cx="6196837" cy="7292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1" kern="1200" dirty="0" smtClean="0"/>
            <a:t>Criação de novas interfaces para o sistema de fraude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0" kern="1200" dirty="0" smtClean="0"/>
            <a:t>- Necessidade de investimento para criação de interfaces do sistema de fraude com CRM, Cobrança, Faturamento e Rede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0" kern="1200" dirty="0" smtClean="0"/>
            <a:t>- Campos mandatórios não chegam no momento da venda on-line (</a:t>
          </a:r>
          <a:r>
            <a:rPr lang="pt-BR" sz="900" b="0" kern="1200" dirty="0" err="1" smtClean="0"/>
            <a:t>login</a:t>
          </a:r>
          <a:r>
            <a:rPr lang="pt-BR" sz="900" b="0" kern="1200" dirty="0" smtClean="0"/>
            <a:t> vendedor, produto), evoluir interface Siebel/</a:t>
          </a:r>
          <a:r>
            <a:rPr lang="pt-BR" sz="900" b="0" kern="1200" dirty="0" err="1" smtClean="0"/>
            <a:t>Transact</a:t>
          </a:r>
          <a:endParaRPr lang="pt-BR" sz="900" b="0" kern="1200" dirty="0"/>
        </a:p>
      </dsp:txBody>
      <dsp:txXfrm>
        <a:off x="1697222" y="1607544"/>
        <a:ext cx="6196837" cy="729238"/>
      </dsp:txXfrm>
    </dsp:sp>
    <dsp:sp modelId="{618874D7-ED6E-4490-B7BB-9DFCB91AF04F}">
      <dsp:nvSpPr>
        <dsp:cNvPr id="0" name=""/>
        <dsp:cNvSpPr/>
      </dsp:nvSpPr>
      <dsp:spPr>
        <a:xfrm>
          <a:off x="1578811" y="2336782"/>
          <a:ext cx="631524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4AA5E0-2DDF-409A-93FE-646316635FEC}">
      <dsp:nvSpPr>
        <dsp:cNvPr id="0" name=""/>
        <dsp:cNvSpPr/>
      </dsp:nvSpPr>
      <dsp:spPr>
        <a:xfrm>
          <a:off x="1697222" y="2373244"/>
          <a:ext cx="6196837" cy="7292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1" kern="1200" dirty="0" smtClean="0"/>
            <a:t>Controles Analíticos avançados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/>
            <a:t>- Construir banco de dados do sistema sobre BIG DATA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/>
            <a:t>- </a:t>
          </a:r>
          <a:r>
            <a:rPr lang="pt-BR" sz="900" kern="1200" dirty="0" err="1" smtClean="0"/>
            <a:t>Wedo</a:t>
          </a:r>
          <a:r>
            <a:rPr lang="pt-BR" sz="900" kern="1200" dirty="0" smtClean="0"/>
            <a:t> irá construir modelos estatística  através de serviço pois não possui na ferramenta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/>
            <a:t>- Contratar Score externo </a:t>
          </a:r>
          <a:r>
            <a:rPr lang="pt-BR" sz="900" kern="1200" dirty="0" err="1" smtClean="0"/>
            <a:t>ClearSale</a:t>
          </a:r>
          <a:r>
            <a:rPr lang="pt-BR" sz="900" kern="1200" dirty="0" smtClean="0"/>
            <a:t>/ Serasa no momento da venda</a:t>
          </a:r>
          <a:endParaRPr lang="pt-BR" sz="900" kern="1200" dirty="0"/>
        </a:p>
      </dsp:txBody>
      <dsp:txXfrm>
        <a:off x="1697222" y="2373244"/>
        <a:ext cx="6196837" cy="729238"/>
      </dsp:txXfrm>
    </dsp:sp>
    <dsp:sp modelId="{C207BD8F-5B3B-4ADB-BAEF-5AFE088A1713}">
      <dsp:nvSpPr>
        <dsp:cNvPr id="0" name=""/>
        <dsp:cNvSpPr/>
      </dsp:nvSpPr>
      <dsp:spPr>
        <a:xfrm>
          <a:off x="1578811" y="3102482"/>
          <a:ext cx="631524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D27DA6-3D8A-49E7-9B97-80D675CF8167}">
      <dsp:nvSpPr>
        <dsp:cNvPr id="0" name=""/>
        <dsp:cNvSpPr/>
      </dsp:nvSpPr>
      <dsp:spPr>
        <a:xfrm>
          <a:off x="0" y="3139863"/>
          <a:ext cx="789406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889DEE-14B1-4FD1-9902-8500C5F00DDB}">
      <dsp:nvSpPr>
        <dsp:cNvPr id="0" name=""/>
        <dsp:cNvSpPr/>
      </dsp:nvSpPr>
      <dsp:spPr>
        <a:xfrm>
          <a:off x="0" y="3139863"/>
          <a:ext cx="1578812" cy="15687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kern="1200" dirty="0" smtClean="0"/>
            <a:t>Pessoas</a:t>
          </a:r>
          <a:endParaRPr lang="pt-BR" sz="2400" kern="1200" dirty="0"/>
        </a:p>
      </dsp:txBody>
      <dsp:txXfrm>
        <a:off x="0" y="3139863"/>
        <a:ext cx="1578812" cy="1568781"/>
      </dsp:txXfrm>
    </dsp:sp>
    <dsp:sp modelId="{0900A2C8-6D2F-4D75-B208-795F0135CD34}">
      <dsp:nvSpPr>
        <dsp:cNvPr id="0" name=""/>
        <dsp:cNvSpPr/>
      </dsp:nvSpPr>
      <dsp:spPr>
        <a:xfrm>
          <a:off x="1697222" y="3176325"/>
          <a:ext cx="6196837" cy="7292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/>
            <a:t>Áreas mandatórias </a:t>
          </a:r>
          <a:endParaRPr lang="pt-BR" sz="900" kern="1200" dirty="0"/>
        </a:p>
      </dsp:txBody>
      <dsp:txXfrm>
        <a:off x="1697222" y="3176325"/>
        <a:ext cx="6196837" cy="729238"/>
      </dsp:txXfrm>
    </dsp:sp>
    <dsp:sp modelId="{8C8FB417-43FA-48FB-994D-65EA43768BB8}">
      <dsp:nvSpPr>
        <dsp:cNvPr id="0" name=""/>
        <dsp:cNvSpPr/>
      </dsp:nvSpPr>
      <dsp:spPr>
        <a:xfrm>
          <a:off x="1578811" y="3905564"/>
          <a:ext cx="631524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B4C15F-B573-450E-829A-53245CAD85F2}">
      <dsp:nvSpPr>
        <dsp:cNvPr id="0" name=""/>
        <dsp:cNvSpPr/>
      </dsp:nvSpPr>
      <dsp:spPr>
        <a:xfrm>
          <a:off x="1697222" y="3942026"/>
          <a:ext cx="6196837" cy="7292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900" kern="1200" dirty="0"/>
        </a:p>
      </dsp:txBody>
      <dsp:txXfrm>
        <a:off x="1697222" y="3942026"/>
        <a:ext cx="6196837" cy="729238"/>
      </dsp:txXfrm>
    </dsp:sp>
    <dsp:sp modelId="{35AFA9D3-A512-45FA-A7BC-6CD6C9AB74FE}">
      <dsp:nvSpPr>
        <dsp:cNvPr id="0" name=""/>
        <dsp:cNvSpPr/>
      </dsp:nvSpPr>
      <dsp:spPr>
        <a:xfrm>
          <a:off x="1578811" y="4671264"/>
          <a:ext cx="631524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PieProcess">
  <dgm:title val=""/>
  <dgm:desc val=""/>
  <dgm:catLst>
    <dgm:cat type="list" pri="8600"/>
    <dgm:cat type="process" pri="4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One val="branch"/>
      <dgm:animLvl val="lvl"/>
    </dgm:varLst>
    <dgm:choose name="Name1">
      <dgm:if name="Name2" func="var" arg="dir" op="equ" val="norm">
        <dgm:alg type="lin">
          <dgm:param type="linDir" val="fromL"/>
        </dgm:alg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val="65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w" for="ch" forName="ParentComposite" refType="w" fact="0.5"/>
      <dgm:constr type="h" for="ch" forName="ParentComposite" refType="h"/>
      <dgm:constr type="w" for="ch" forName="negSibTrans" refType="h" refFor="ch" refForName="composite" fact="-0.075"/>
      <dgm:constr type="w" for="ch" forName="sibTrans" refType="w" refFor="ch" refForName="composite" fact="0.0425"/>
    </dgm:constrLst>
    <dgm:forEach name="nodesForEach" axis="ch" ptType="node" cnt="7">
      <dgm:layoutNode name="ParentComposite">
        <dgm:alg type="composite">
          <dgm:param type="ar" val="0.25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Parent" refType="w" fact="0"/>
              <dgm:constr type="t" for="ch" forName="Parent" refType="h" fact="0.275"/>
              <dgm:constr type="w" for="ch" forName="Parent" refType="w" fact="0.6"/>
              <dgm:constr type="h" for="ch" forName="Parent" refType="h" fact="0.725"/>
              <dgm:constr type="l" for="ch" forName="Chord" refType="w" fact="0"/>
              <dgm:constr type="t" for="ch" forName="Chord" refType="h" fact="0"/>
              <dgm:constr type="w" for="ch" forName="Chord" refType="w"/>
              <dgm:constr type="h" for="ch" forName="Chord" refType="h" fact="0.25"/>
              <dgm:constr type="l" for="ch" forName="Pie" refType="w" fact="0.1"/>
              <dgm:constr type="t" for="ch" forName="Pie" refType="h" fact="0.025"/>
              <dgm:constr type="w" for="ch" forName="Pie" refType="w" fact="0.8"/>
              <dgm:constr type="h" for="ch" forName="Pie" refType="h" fact="0.2"/>
            </dgm:constrLst>
          </dgm:if>
          <dgm:else name="Name6">
            <dgm:constrLst>
              <dgm:constr type="r" for="ch" forName="Parent" refType="w"/>
              <dgm:constr type="t" for="ch" forName="Parent" refType="h" fact="0.275"/>
              <dgm:constr type="w" for="ch" forName="Parent" refType="w" fact="0.6"/>
              <dgm:constr type="h" for="ch" forName="Parent" refType="h" fact="0.725"/>
              <dgm:constr type="r" for="ch" forName="Chord" refType="w"/>
              <dgm:constr type="t" for="ch" forName="Chord" refType="h" fact="0"/>
              <dgm:constr type="w" for="ch" forName="Chord" refType="w"/>
              <dgm:constr type="h" for="ch" forName="Chord" refType="h" fact="0.25"/>
              <dgm:constr type="r" for="ch" forName="Pie" refType="w" fact="0.9"/>
              <dgm:constr type="t" for="ch" forName="Pie" refType="h" fact="0.025"/>
              <dgm:constr type="w" for="ch" forName="Pie" refType="w" fact="0.8"/>
              <dgm:constr type="h" for="ch" forName="Pie" refType="h" fact="0.2"/>
            </dgm:constrLst>
          </dgm:else>
        </dgm:choose>
        <dgm:layoutNode name="Chord" styleLbl="bgShp">
          <dgm:alg type="sp"/>
          <dgm:choose name="Name7">
            <dgm:if name="Name8" func="var" arg="dir" op="equ" val="norm">
              <dgm:shape xmlns:r="http://schemas.openxmlformats.org/officeDocument/2006/relationships" type="chord" r:blip="">
                <dgm:adjLst>
                  <dgm:adj idx="1" val="80"/>
                  <dgm:adj idx="2" val="-80"/>
                </dgm:adjLst>
              </dgm:shape>
            </dgm:if>
            <dgm:else name="Name9">
              <dgm:shape xmlns:r="http://schemas.openxmlformats.org/officeDocument/2006/relationships" rot="180" type="chord" r:blip="">
                <dgm:adjLst>
                  <dgm:adj idx="1" val="80"/>
                  <dgm:adj idx="2" val="-80"/>
                </dgm:adjLst>
              </dgm:shape>
            </dgm:else>
          </dgm:choose>
          <dgm:presOf/>
        </dgm:layoutNode>
        <dgm:layoutNode name="Pie" styleLbl="alignNode1">
          <dgm:alg type="sp"/>
          <dgm:choose name="Name10">
            <dgm:if name="Name11" func="var" arg="dir" op="equ" val="norm">
              <dgm:choose name="Name12">
                <dgm:if name="Name13" axis="precedSib" ptType="node" func="cnt" op="equ" val="0">
                  <dgm:choose name="Name14">
                    <dgm:if name="Name15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16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if name="Name17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-150"/>
                          <dgm:adj idx="2" val="-90"/>
                        </dgm:adjLst>
                      </dgm:shape>
                    </dgm:if>
                    <dgm:if name="Name18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-135"/>
                          <dgm:adj idx="2" val="-90"/>
                        </dgm:adjLst>
                      </dgm:shape>
                    </dgm:if>
                    <dgm:if name="Name19" axis="followSib" ptType="node" func="cnt" op="equ" val="4">
                      <dgm:shape xmlns:r="http://schemas.openxmlformats.org/officeDocument/2006/relationships" type="pie" r:blip="">
                        <dgm:adjLst>
                          <dgm:adj idx="1" val="-126"/>
                          <dgm:adj idx="2" val="-90"/>
                        </dgm:adjLst>
                      </dgm:shape>
                    </dgm:if>
                    <dgm:if name="Name20" axis="followSib" ptType="node" func="cnt" op="equ" val="5">
                      <dgm:shape xmlns:r="http://schemas.openxmlformats.org/officeDocument/2006/relationships" type="pie" r:blip="">
                        <dgm:adjLst>
                          <dgm:adj idx="1" val="-120"/>
                          <dgm:adj idx="2" val="-90"/>
                        </dgm:adjLst>
                      </dgm:shape>
                    </dgm:if>
                    <dgm:else name="Name21">
                      <dgm:shape xmlns:r="http://schemas.openxmlformats.org/officeDocument/2006/relationships" type="pie" r:blip="">
                        <dgm:adjLst>
                          <dgm:adj idx="1" val="-115.7143"/>
                          <dgm:adj idx="2" val="-90"/>
                        </dgm:adjLst>
                      </dgm:shape>
                    </dgm:else>
                  </dgm:choose>
                </dgm:if>
                <dgm:if name="Name22" axis="precedSib" ptType="node" func="cnt" op="equ" val="1">
                  <dgm:choose name="Name23">
                    <dgm:if name="Name24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25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50"/>
                          <dgm:adj idx="2" val="-90"/>
                        </dgm:adjLst>
                      </dgm:shape>
                    </dgm:if>
                    <dgm:if name="Name26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if name="Name27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-162"/>
                          <dgm:adj idx="2" val="-90"/>
                        </dgm:adjLst>
                      </dgm:shape>
                    </dgm:if>
                    <dgm:if name="Name28" axis="followSib" ptType="node" func="cnt" op="equ" val="4">
                      <dgm:shape xmlns:r="http://schemas.openxmlformats.org/officeDocument/2006/relationships" type="pie" r:blip="">
                        <dgm:adjLst>
                          <dgm:adj idx="1" val="-150"/>
                          <dgm:adj idx="2" val="-90"/>
                        </dgm:adjLst>
                      </dgm:shape>
                    </dgm:if>
                    <dgm:else name="Name29">
                      <dgm:shape xmlns:r="http://schemas.openxmlformats.org/officeDocument/2006/relationships" type="pie" r:blip="">
                        <dgm:adjLst>
                          <dgm:adj idx="1" val="-141.4286"/>
                          <dgm:adj idx="2" val="-90"/>
                        </dgm:adjLst>
                      </dgm:shape>
                    </dgm:else>
                  </dgm:choose>
                </dgm:if>
                <dgm:if name="Name30" axis="precedSib" ptType="node" func="cnt" op="equ" val="2">
                  <dgm:choose name="Name31">
                    <dgm:if name="Name32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33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35"/>
                          <dgm:adj idx="2" val="-90"/>
                        </dgm:adjLst>
                      </dgm:shape>
                    </dgm:if>
                    <dgm:if name="Name34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62"/>
                          <dgm:adj idx="2" val="-90"/>
                        </dgm:adjLst>
                      </dgm:shape>
                    </dgm:if>
                    <dgm:if name="Name35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else name="Name36">
                      <dgm:shape xmlns:r="http://schemas.openxmlformats.org/officeDocument/2006/relationships" type="pie" r:blip="">
                        <dgm:adjLst>
                          <dgm:adj idx="1" val="-167.1429"/>
                          <dgm:adj idx="2" val="-90"/>
                        </dgm:adjLst>
                      </dgm:shape>
                    </dgm:else>
                  </dgm:choose>
                </dgm:if>
                <dgm:if name="Name37" axis="precedSib" ptType="node" func="cnt" op="equ" val="3">
                  <dgm:choose name="Name38">
                    <dgm:if name="Name39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40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26"/>
                          <dgm:adj idx="2" val="-90"/>
                        </dgm:adjLst>
                      </dgm:shape>
                    </dgm:if>
                    <dgm:if name="Name41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50"/>
                          <dgm:adj idx="2" val="-90"/>
                        </dgm:adjLst>
                      </dgm:shape>
                    </dgm:if>
                    <dgm:else name="Name42">
                      <dgm:shape xmlns:r="http://schemas.openxmlformats.org/officeDocument/2006/relationships" type="pie" r:blip="">
                        <dgm:adjLst>
                          <dgm:adj idx="1" val="167.1429"/>
                          <dgm:adj idx="2" val="-90"/>
                        </dgm:adjLst>
                      </dgm:shape>
                    </dgm:else>
                  </dgm:choose>
                </dgm:if>
                <dgm:if name="Name43" axis="precedSib" ptType="node" func="cnt" op="equ" val="4">
                  <dgm:choose name="Name44">
                    <dgm:if name="Name45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46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20"/>
                          <dgm:adj idx="2" val="-90"/>
                        </dgm:adjLst>
                      </dgm:shape>
                    </dgm:if>
                    <dgm:else name="Name47">
                      <dgm:shape xmlns:r="http://schemas.openxmlformats.org/officeDocument/2006/relationships" type="pie" r:blip="">
                        <dgm:adjLst>
                          <dgm:adj idx="1" val="141.4286"/>
                          <dgm:adj idx="2" val="-90"/>
                        </dgm:adjLst>
                      </dgm:shape>
                    </dgm:else>
                  </dgm:choose>
                </dgm:if>
                <dgm:if name="Name48" axis="precedSib" ptType="node" func="cnt" op="equ" val="5">
                  <dgm:choose name="Name49">
                    <dgm:if name="Name50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else name="Name51">
                      <dgm:shape xmlns:r="http://schemas.openxmlformats.org/officeDocument/2006/relationships" type="pie" r:blip="">
                        <dgm:adjLst>
                          <dgm:adj idx="1" val="115.7143"/>
                          <dgm:adj idx="2" val="-90"/>
                        </dgm:adjLst>
                      </dgm:shape>
                    </dgm:else>
                  </dgm:choose>
                </dgm:if>
                <dgm:else name="Name52">
                  <dgm:shape xmlns:r="http://schemas.openxmlformats.org/officeDocument/2006/relationships" type="pie" r:blip="">
                    <dgm:adjLst>
                      <dgm:adj idx="1" val="90"/>
                      <dgm:adj idx="2" val="-90"/>
                    </dgm:adjLst>
                  </dgm:shape>
                </dgm:else>
              </dgm:choose>
            </dgm:if>
            <dgm:else name="Name53">
              <dgm:choose name="Name54">
                <dgm:if name="Name55" axis="precedSib" ptType="node" func="cnt" op="equ" val="0">
                  <dgm:choose name="Name56">
                    <dgm:if name="Name57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58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if name="Name59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50"/>
                        </dgm:adjLst>
                      </dgm:shape>
                    </dgm:if>
                    <dgm:if name="Name60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35"/>
                        </dgm:adjLst>
                      </dgm:shape>
                    </dgm:if>
                    <dgm:if name="Name61" axis="followSib" ptType="node" func="cnt" op="equ" val="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26"/>
                        </dgm:adjLst>
                      </dgm:shape>
                    </dgm:if>
                    <dgm:if name="Name62" axis="followSib" ptType="node" func="cnt" op="equ" val="5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20"/>
                        </dgm:adjLst>
                      </dgm:shape>
                    </dgm:if>
                    <dgm:else name="Name6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15.7143"/>
                        </dgm:adjLst>
                      </dgm:shape>
                    </dgm:else>
                  </dgm:choose>
                </dgm:if>
                <dgm:if name="Name64" axis="precedSib" ptType="node" func="cnt" op="equ" val="1">
                  <dgm:choose name="Name65">
                    <dgm:if name="Name66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67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50"/>
                        </dgm:adjLst>
                      </dgm:shape>
                    </dgm:if>
                    <dgm:if name="Name68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if name="Name69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62"/>
                        </dgm:adjLst>
                      </dgm:shape>
                    </dgm:if>
                    <dgm:if name="Name70" axis="followSib" ptType="node" func="cnt" op="equ" val="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50"/>
                        </dgm:adjLst>
                      </dgm:shape>
                    </dgm:if>
                    <dgm:else name="Name7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41.4286"/>
                        </dgm:adjLst>
                      </dgm:shape>
                    </dgm:else>
                  </dgm:choose>
                </dgm:if>
                <dgm:if name="Name72" axis="precedSib" ptType="node" func="cnt" op="equ" val="2">
                  <dgm:choose name="Name73">
                    <dgm:if name="Name74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75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35"/>
                        </dgm:adjLst>
                      </dgm:shape>
                    </dgm:if>
                    <dgm:if name="Name76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62"/>
                        </dgm:adjLst>
                      </dgm:shape>
                    </dgm:if>
                    <dgm:if name="Name77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else name="Name78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67.1429"/>
                        </dgm:adjLst>
                      </dgm:shape>
                    </dgm:else>
                  </dgm:choose>
                </dgm:if>
                <dgm:if name="Name79" axis="precedSib" ptType="node" func="cnt" op="equ" val="3">
                  <dgm:choose name="Name80">
                    <dgm:if name="Name81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82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26"/>
                        </dgm:adjLst>
                      </dgm:shape>
                    </dgm:if>
                    <dgm:if name="Name83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50"/>
                        </dgm:adjLst>
                      </dgm:shape>
                    </dgm:if>
                    <dgm:else name="Name8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67.1429"/>
                        </dgm:adjLst>
                      </dgm:shape>
                    </dgm:else>
                  </dgm:choose>
                </dgm:if>
                <dgm:if name="Name85" axis="precedSib" ptType="node" func="cnt" op="equ" val="4">
                  <dgm:choose name="Name86">
                    <dgm:if name="Name87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88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20"/>
                        </dgm:adjLst>
                      </dgm:shape>
                    </dgm:if>
                    <dgm:else name="Name89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41.4286"/>
                        </dgm:adjLst>
                      </dgm:shape>
                    </dgm:else>
                  </dgm:choose>
                </dgm:if>
                <dgm:if name="Name90" axis="precedSib" ptType="node" func="cnt" op="equ" val="5">
                  <dgm:choose name="Name91">
                    <dgm:if name="Name92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else name="Name9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15.7143"/>
                        </dgm:adjLst>
                      </dgm:shape>
                    </dgm:else>
                  </dgm:choose>
                </dgm:if>
                <dgm:else name="Name94">
                  <dgm:shape xmlns:r="http://schemas.openxmlformats.org/officeDocument/2006/relationships" rot="180" type="pie" r:blip="">
                    <dgm:adjLst>
                      <dgm:adj idx="1" val="90"/>
                      <dgm:adj idx="2" val="-90"/>
                    </dgm:adjLst>
                  </dgm:shape>
                </dgm:else>
              </dgm:choose>
            </dgm:else>
          </dgm:choose>
          <dgm:presOf/>
        </dgm:layoutNode>
        <dgm:layoutNode name="Parent" styleLbl="revTx">
          <dgm:varLst>
            <dgm:chMax val="1"/>
            <dgm:chPref val="1"/>
            <dgm:bulletEnabled val="1"/>
          </dgm:varLst>
          <dgm:choose name="Name95">
            <dgm:if name="Name96" func="var" arg="dir" op="equ" val="norm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  <dgm:param type="txAnchorVert" val="b"/>
                <dgm:param type="autoTxRot" val="grav"/>
              </dgm:alg>
            </dgm:if>
            <dgm:else name="Name97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  <dgm:param type="txAnchorVert" val="b"/>
                <dgm:param type="autoTxRot" val="grav"/>
              </dgm:alg>
            </dgm:else>
          </dgm:choose>
          <dgm:choose name="Name98">
            <dgm:if name="Name99" func="var" arg="dir" op="equ" val="norm">
              <dgm:shape xmlns:r="http://schemas.openxmlformats.org/officeDocument/2006/relationships" rot="-90" type="rect" r:blip="">
                <dgm:adjLst/>
              </dgm:shape>
            </dgm:if>
            <dgm:else name="Name100">
              <dgm:shape xmlns:r="http://schemas.openxmlformats.org/officeDocument/2006/relationships" rot="90" type="rect" r:blip="">
                <dgm:adjLst/>
              </dgm:shape>
            </dgm:else>
          </dgm:choose>
          <dgm:presOf axis="self" ptType="node"/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</dgm:layoutNode>
      <dgm:choose name="Name101">
        <dgm:if name="Name102" axis="ch" ptType="node" func="cnt" op="gte" val="1">
          <dgm:forEach name="negSibTransForEach" axis="ch" ptType="sibTrans" hideLastTrans="0" cnt="1">
            <dgm:layoutNode name="negSibTrans">
              <dgm:alg type="sp"/>
              <dgm:shape xmlns:r="http://schemas.openxmlformats.org/officeDocument/2006/relationships" r:blip="">
                <dgm:adjLst/>
              </dgm:shape>
            </dgm:layoutNode>
          </dgm:forEach>
          <dgm:layoutNode name="composite">
            <dgm:alg type="composite">
              <dgm:param type="ar" val="0.5"/>
            </dgm:alg>
            <dgm:shape xmlns:r="http://schemas.openxmlformats.org/officeDocument/2006/relationships" r:blip="">
              <dgm:adjLst/>
            </dgm:shape>
            <dgm:choose name="Name103">
              <dgm:if name="Name104" func="var" arg="dir" op="equ" val="norm">
                <dgm:constrLst>
                  <dgm:constr type="l" for="ch" forName="Child" refType="w" fact="0"/>
                  <dgm:constr type="t" for="ch" forName="Child" refType="h" fact="0"/>
                  <dgm:constr type="w" for="ch" forName="Child" refType="w"/>
                  <dgm:constr type="h" for="ch" forName="Child" refType="h"/>
                </dgm:constrLst>
              </dgm:if>
              <dgm:else name="Name105">
                <dgm:constrLst>
                  <dgm:constr type="r" for="ch" forName="Child" refType="w"/>
                  <dgm:constr type="t" for="ch" forName="Child" refType="h" fact="0"/>
                  <dgm:constr type="w" for="ch" forName="Child" refType="w"/>
                  <dgm:constr type="h" for="ch" forName="Child" refType="h"/>
                </dgm:constrLst>
              </dgm:else>
            </dgm:choose>
            <dgm:ruleLst/>
            <dgm:layoutNode name="Child" styleLbl="revTx">
              <dgm:varLst>
                <dgm:chMax val="0"/>
                <dgm:chPref val="0"/>
                <dgm:bulletEnabled val="1"/>
              </dgm:varLst>
              <dgm:choose name="Name106">
                <dgm:if name="Name107" func="var" arg="dir" op="equ" val="norm">
                  <dgm:alg type="tx">
                    <dgm:param type="parTxLTRAlign" val="l"/>
                    <dgm:param type="parTxRTLAlign" val="r"/>
                    <dgm:param type="txAnchorVert" val="t"/>
                  </dgm:alg>
                </dgm:if>
                <dgm:else name="Name108">
                  <dgm:alg type="tx">
                    <dgm:param type="parTxLTRAlign" val="r"/>
                    <dgm:param type="parTxRTLAlign" val="l"/>
                    <dgm:param type="txAnchorVert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"/>
                <dgm:constr type="rMarg" refType="primFontSz" fact="0"/>
                <dgm:constr type="tMarg" refType="primFontSz" fact="0"/>
                <dgm:constr type="bMarg" refType="primFontSz" fact="0"/>
              </dgm:constrLst>
              <dgm:ruleLst>
                <dgm:rule type="primFontSz" val="5" fact="NaN" max="NaN"/>
              </dgm:ruleLst>
            </dgm:layoutNode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</dgm:layoutNode>
          </dgm:forEach>
        </dgm:if>
        <dgm:else name="Name109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PieProcess">
  <dgm:title val=""/>
  <dgm:desc val=""/>
  <dgm:catLst>
    <dgm:cat type="list" pri="8600"/>
    <dgm:cat type="process" pri="4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One val="branch"/>
      <dgm:animLvl val="lvl"/>
    </dgm:varLst>
    <dgm:choose name="Name1">
      <dgm:if name="Name2" func="var" arg="dir" op="equ" val="norm">
        <dgm:alg type="lin">
          <dgm:param type="linDir" val="fromL"/>
        </dgm:alg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val="65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w" for="ch" forName="ParentComposite" refType="w" fact="0.5"/>
      <dgm:constr type="h" for="ch" forName="ParentComposite" refType="h"/>
      <dgm:constr type="w" for="ch" forName="negSibTrans" refType="h" refFor="ch" refForName="composite" fact="-0.075"/>
      <dgm:constr type="w" for="ch" forName="sibTrans" refType="w" refFor="ch" refForName="composite" fact="0.0425"/>
    </dgm:constrLst>
    <dgm:forEach name="nodesForEach" axis="ch" ptType="node" cnt="7">
      <dgm:layoutNode name="ParentComposite">
        <dgm:alg type="composite">
          <dgm:param type="ar" val="0.25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Parent" refType="w" fact="0"/>
              <dgm:constr type="t" for="ch" forName="Parent" refType="h" fact="0.275"/>
              <dgm:constr type="w" for="ch" forName="Parent" refType="w" fact="0.6"/>
              <dgm:constr type="h" for="ch" forName="Parent" refType="h" fact="0.725"/>
              <dgm:constr type="l" for="ch" forName="Chord" refType="w" fact="0"/>
              <dgm:constr type="t" for="ch" forName="Chord" refType="h" fact="0"/>
              <dgm:constr type="w" for="ch" forName="Chord" refType="w"/>
              <dgm:constr type="h" for="ch" forName="Chord" refType="h" fact="0.25"/>
              <dgm:constr type="l" for="ch" forName="Pie" refType="w" fact="0.1"/>
              <dgm:constr type="t" for="ch" forName="Pie" refType="h" fact="0.025"/>
              <dgm:constr type="w" for="ch" forName="Pie" refType="w" fact="0.8"/>
              <dgm:constr type="h" for="ch" forName="Pie" refType="h" fact="0.2"/>
            </dgm:constrLst>
          </dgm:if>
          <dgm:else name="Name6">
            <dgm:constrLst>
              <dgm:constr type="r" for="ch" forName="Parent" refType="w"/>
              <dgm:constr type="t" for="ch" forName="Parent" refType="h" fact="0.275"/>
              <dgm:constr type="w" for="ch" forName="Parent" refType="w" fact="0.6"/>
              <dgm:constr type="h" for="ch" forName="Parent" refType="h" fact="0.725"/>
              <dgm:constr type="r" for="ch" forName="Chord" refType="w"/>
              <dgm:constr type="t" for="ch" forName="Chord" refType="h" fact="0"/>
              <dgm:constr type="w" for="ch" forName="Chord" refType="w"/>
              <dgm:constr type="h" for="ch" forName="Chord" refType="h" fact="0.25"/>
              <dgm:constr type="r" for="ch" forName="Pie" refType="w" fact="0.9"/>
              <dgm:constr type="t" for="ch" forName="Pie" refType="h" fact="0.025"/>
              <dgm:constr type="w" for="ch" forName="Pie" refType="w" fact="0.8"/>
              <dgm:constr type="h" for="ch" forName="Pie" refType="h" fact="0.2"/>
            </dgm:constrLst>
          </dgm:else>
        </dgm:choose>
        <dgm:layoutNode name="Chord" styleLbl="bgShp">
          <dgm:alg type="sp"/>
          <dgm:choose name="Name7">
            <dgm:if name="Name8" func="var" arg="dir" op="equ" val="norm">
              <dgm:shape xmlns:r="http://schemas.openxmlformats.org/officeDocument/2006/relationships" type="chord" r:blip="">
                <dgm:adjLst>
                  <dgm:adj idx="1" val="80"/>
                  <dgm:adj idx="2" val="-80"/>
                </dgm:adjLst>
              </dgm:shape>
            </dgm:if>
            <dgm:else name="Name9">
              <dgm:shape xmlns:r="http://schemas.openxmlformats.org/officeDocument/2006/relationships" rot="180" type="chord" r:blip="">
                <dgm:adjLst>
                  <dgm:adj idx="1" val="80"/>
                  <dgm:adj idx="2" val="-80"/>
                </dgm:adjLst>
              </dgm:shape>
            </dgm:else>
          </dgm:choose>
          <dgm:presOf/>
        </dgm:layoutNode>
        <dgm:layoutNode name="Pie" styleLbl="alignNode1">
          <dgm:alg type="sp"/>
          <dgm:choose name="Name10">
            <dgm:if name="Name11" func="var" arg="dir" op="equ" val="norm">
              <dgm:choose name="Name12">
                <dgm:if name="Name13" axis="precedSib" ptType="node" func="cnt" op="equ" val="0">
                  <dgm:choose name="Name14">
                    <dgm:if name="Name15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16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if name="Name17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-150"/>
                          <dgm:adj idx="2" val="-90"/>
                        </dgm:adjLst>
                      </dgm:shape>
                    </dgm:if>
                    <dgm:if name="Name18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-135"/>
                          <dgm:adj idx="2" val="-90"/>
                        </dgm:adjLst>
                      </dgm:shape>
                    </dgm:if>
                    <dgm:if name="Name19" axis="followSib" ptType="node" func="cnt" op="equ" val="4">
                      <dgm:shape xmlns:r="http://schemas.openxmlformats.org/officeDocument/2006/relationships" type="pie" r:blip="">
                        <dgm:adjLst>
                          <dgm:adj idx="1" val="-126"/>
                          <dgm:adj idx="2" val="-90"/>
                        </dgm:adjLst>
                      </dgm:shape>
                    </dgm:if>
                    <dgm:if name="Name20" axis="followSib" ptType="node" func="cnt" op="equ" val="5">
                      <dgm:shape xmlns:r="http://schemas.openxmlformats.org/officeDocument/2006/relationships" type="pie" r:blip="">
                        <dgm:adjLst>
                          <dgm:adj idx="1" val="-120"/>
                          <dgm:adj idx="2" val="-90"/>
                        </dgm:adjLst>
                      </dgm:shape>
                    </dgm:if>
                    <dgm:else name="Name21">
                      <dgm:shape xmlns:r="http://schemas.openxmlformats.org/officeDocument/2006/relationships" type="pie" r:blip="">
                        <dgm:adjLst>
                          <dgm:adj idx="1" val="-115.7143"/>
                          <dgm:adj idx="2" val="-90"/>
                        </dgm:adjLst>
                      </dgm:shape>
                    </dgm:else>
                  </dgm:choose>
                </dgm:if>
                <dgm:if name="Name22" axis="precedSib" ptType="node" func="cnt" op="equ" val="1">
                  <dgm:choose name="Name23">
                    <dgm:if name="Name24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25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50"/>
                          <dgm:adj idx="2" val="-90"/>
                        </dgm:adjLst>
                      </dgm:shape>
                    </dgm:if>
                    <dgm:if name="Name26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if name="Name27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-162"/>
                          <dgm:adj idx="2" val="-90"/>
                        </dgm:adjLst>
                      </dgm:shape>
                    </dgm:if>
                    <dgm:if name="Name28" axis="followSib" ptType="node" func="cnt" op="equ" val="4">
                      <dgm:shape xmlns:r="http://schemas.openxmlformats.org/officeDocument/2006/relationships" type="pie" r:blip="">
                        <dgm:adjLst>
                          <dgm:adj idx="1" val="-150"/>
                          <dgm:adj idx="2" val="-90"/>
                        </dgm:adjLst>
                      </dgm:shape>
                    </dgm:if>
                    <dgm:else name="Name29">
                      <dgm:shape xmlns:r="http://schemas.openxmlformats.org/officeDocument/2006/relationships" type="pie" r:blip="">
                        <dgm:adjLst>
                          <dgm:adj idx="1" val="-141.4286"/>
                          <dgm:adj idx="2" val="-90"/>
                        </dgm:adjLst>
                      </dgm:shape>
                    </dgm:else>
                  </dgm:choose>
                </dgm:if>
                <dgm:if name="Name30" axis="precedSib" ptType="node" func="cnt" op="equ" val="2">
                  <dgm:choose name="Name31">
                    <dgm:if name="Name32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33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35"/>
                          <dgm:adj idx="2" val="-90"/>
                        </dgm:adjLst>
                      </dgm:shape>
                    </dgm:if>
                    <dgm:if name="Name34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62"/>
                          <dgm:adj idx="2" val="-90"/>
                        </dgm:adjLst>
                      </dgm:shape>
                    </dgm:if>
                    <dgm:if name="Name35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else name="Name36">
                      <dgm:shape xmlns:r="http://schemas.openxmlformats.org/officeDocument/2006/relationships" type="pie" r:blip="">
                        <dgm:adjLst>
                          <dgm:adj idx="1" val="-167.1429"/>
                          <dgm:adj idx="2" val="-90"/>
                        </dgm:adjLst>
                      </dgm:shape>
                    </dgm:else>
                  </dgm:choose>
                </dgm:if>
                <dgm:if name="Name37" axis="precedSib" ptType="node" func="cnt" op="equ" val="3">
                  <dgm:choose name="Name38">
                    <dgm:if name="Name39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40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26"/>
                          <dgm:adj idx="2" val="-90"/>
                        </dgm:adjLst>
                      </dgm:shape>
                    </dgm:if>
                    <dgm:if name="Name41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50"/>
                          <dgm:adj idx="2" val="-90"/>
                        </dgm:adjLst>
                      </dgm:shape>
                    </dgm:if>
                    <dgm:else name="Name42">
                      <dgm:shape xmlns:r="http://schemas.openxmlformats.org/officeDocument/2006/relationships" type="pie" r:blip="">
                        <dgm:adjLst>
                          <dgm:adj idx="1" val="167.1429"/>
                          <dgm:adj idx="2" val="-90"/>
                        </dgm:adjLst>
                      </dgm:shape>
                    </dgm:else>
                  </dgm:choose>
                </dgm:if>
                <dgm:if name="Name43" axis="precedSib" ptType="node" func="cnt" op="equ" val="4">
                  <dgm:choose name="Name44">
                    <dgm:if name="Name45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46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20"/>
                          <dgm:adj idx="2" val="-90"/>
                        </dgm:adjLst>
                      </dgm:shape>
                    </dgm:if>
                    <dgm:else name="Name47">
                      <dgm:shape xmlns:r="http://schemas.openxmlformats.org/officeDocument/2006/relationships" type="pie" r:blip="">
                        <dgm:adjLst>
                          <dgm:adj idx="1" val="141.4286"/>
                          <dgm:adj idx="2" val="-90"/>
                        </dgm:adjLst>
                      </dgm:shape>
                    </dgm:else>
                  </dgm:choose>
                </dgm:if>
                <dgm:if name="Name48" axis="precedSib" ptType="node" func="cnt" op="equ" val="5">
                  <dgm:choose name="Name49">
                    <dgm:if name="Name50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else name="Name51">
                      <dgm:shape xmlns:r="http://schemas.openxmlformats.org/officeDocument/2006/relationships" type="pie" r:blip="">
                        <dgm:adjLst>
                          <dgm:adj idx="1" val="115.7143"/>
                          <dgm:adj idx="2" val="-90"/>
                        </dgm:adjLst>
                      </dgm:shape>
                    </dgm:else>
                  </dgm:choose>
                </dgm:if>
                <dgm:else name="Name52">
                  <dgm:shape xmlns:r="http://schemas.openxmlformats.org/officeDocument/2006/relationships" type="pie" r:blip="">
                    <dgm:adjLst>
                      <dgm:adj idx="1" val="90"/>
                      <dgm:adj idx="2" val="-90"/>
                    </dgm:adjLst>
                  </dgm:shape>
                </dgm:else>
              </dgm:choose>
            </dgm:if>
            <dgm:else name="Name53">
              <dgm:choose name="Name54">
                <dgm:if name="Name55" axis="precedSib" ptType="node" func="cnt" op="equ" val="0">
                  <dgm:choose name="Name56">
                    <dgm:if name="Name57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58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if name="Name59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50"/>
                        </dgm:adjLst>
                      </dgm:shape>
                    </dgm:if>
                    <dgm:if name="Name60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35"/>
                        </dgm:adjLst>
                      </dgm:shape>
                    </dgm:if>
                    <dgm:if name="Name61" axis="followSib" ptType="node" func="cnt" op="equ" val="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26"/>
                        </dgm:adjLst>
                      </dgm:shape>
                    </dgm:if>
                    <dgm:if name="Name62" axis="followSib" ptType="node" func="cnt" op="equ" val="5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20"/>
                        </dgm:adjLst>
                      </dgm:shape>
                    </dgm:if>
                    <dgm:else name="Name6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15.7143"/>
                        </dgm:adjLst>
                      </dgm:shape>
                    </dgm:else>
                  </dgm:choose>
                </dgm:if>
                <dgm:if name="Name64" axis="precedSib" ptType="node" func="cnt" op="equ" val="1">
                  <dgm:choose name="Name65">
                    <dgm:if name="Name66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67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50"/>
                        </dgm:adjLst>
                      </dgm:shape>
                    </dgm:if>
                    <dgm:if name="Name68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if name="Name69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62"/>
                        </dgm:adjLst>
                      </dgm:shape>
                    </dgm:if>
                    <dgm:if name="Name70" axis="followSib" ptType="node" func="cnt" op="equ" val="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50"/>
                        </dgm:adjLst>
                      </dgm:shape>
                    </dgm:if>
                    <dgm:else name="Name7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41.4286"/>
                        </dgm:adjLst>
                      </dgm:shape>
                    </dgm:else>
                  </dgm:choose>
                </dgm:if>
                <dgm:if name="Name72" axis="precedSib" ptType="node" func="cnt" op="equ" val="2">
                  <dgm:choose name="Name73">
                    <dgm:if name="Name74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75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35"/>
                        </dgm:adjLst>
                      </dgm:shape>
                    </dgm:if>
                    <dgm:if name="Name76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62"/>
                        </dgm:adjLst>
                      </dgm:shape>
                    </dgm:if>
                    <dgm:if name="Name77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else name="Name78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67.1429"/>
                        </dgm:adjLst>
                      </dgm:shape>
                    </dgm:else>
                  </dgm:choose>
                </dgm:if>
                <dgm:if name="Name79" axis="precedSib" ptType="node" func="cnt" op="equ" val="3">
                  <dgm:choose name="Name80">
                    <dgm:if name="Name81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82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26"/>
                        </dgm:adjLst>
                      </dgm:shape>
                    </dgm:if>
                    <dgm:if name="Name83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50"/>
                        </dgm:adjLst>
                      </dgm:shape>
                    </dgm:if>
                    <dgm:else name="Name8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67.1429"/>
                        </dgm:adjLst>
                      </dgm:shape>
                    </dgm:else>
                  </dgm:choose>
                </dgm:if>
                <dgm:if name="Name85" axis="precedSib" ptType="node" func="cnt" op="equ" val="4">
                  <dgm:choose name="Name86">
                    <dgm:if name="Name87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88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20"/>
                        </dgm:adjLst>
                      </dgm:shape>
                    </dgm:if>
                    <dgm:else name="Name89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41.4286"/>
                        </dgm:adjLst>
                      </dgm:shape>
                    </dgm:else>
                  </dgm:choose>
                </dgm:if>
                <dgm:if name="Name90" axis="precedSib" ptType="node" func="cnt" op="equ" val="5">
                  <dgm:choose name="Name91">
                    <dgm:if name="Name92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else name="Name9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15.7143"/>
                        </dgm:adjLst>
                      </dgm:shape>
                    </dgm:else>
                  </dgm:choose>
                </dgm:if>
                <dgm:else name="Name94">
                  <dgm:shape xmlns:r="http://schemas.openxmlformats.org/officeDocument/2006/relationships" rot="180" type="pie" r:blip="">
                    <dgm:adjLst>
                      <dgm:adj idx="1" val="90"/>
                      <dgm:adj idx="2" val="-90"/>
                    </dgm:adjLst>
                  </dgm:shape>
                </dgm:else>
              </dgm:choose>
            </dgm:else>
          </dgm:choose>
          <dgm:presOf/>
        </dgm:layoutNode>
        <dgm:layoutNode name="Parent" styleLbl="revTx">
          <dgm:varLst>
            <dgm:chMax val="1"/>
            <dgm:chPref val="1"/>
            <dgm:bulletEnabled val="1"/>
          </dgm:varLst>
          <dgm:choose name="Name95">
            <dgm:if name="Name96" func="var" arg="dir" op="equ" val="norm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  <dgm:param type="txAnchorVert" val="b"/>
                <dgm:param type="autoTxRot" val="grav"/>
              </dgm:alg>
            </dgm:if>
            <dgm:else name="Name97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  <dgm:param type="txAnchorVert" val="b"/>
                <dgm:param type="autoTxRot" val="grav"/>
              </dgm:alg>
            </dgm:else>
          </dgm:choose>
          <dgm:choose name="Name98">
            <dgm:if name="Name99" func="var" arg="dir" op="equ" val="norm">
              <dgm:shape xmlns:r="http://schemas.openxmlformats.org/officeDocument/2006/relationships" rot="-90" type="rect" r:blip="">
                <dgm:adjLst/>
              </dgm:shape>
            </dgm:if>
            <dgm:else name="Name100">
              <dgm:shape xmlns:r="http://schemas.openxmlformats.org/officeDocument/2006/relationships" rot="90" type="rect" r:blip="">
                <dgm:adjLst/>
              </dgm:shape>
            </dgm:else>
          </dgm:choose>
          <dgm:presOf axis="self" ptType="node"/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</dgm:layoutNode>
      <dgm:choose name="Name101">
        <dgm:if name="Name102" axis="ch" ptType="node" func="cnt" op="gte" val="1">
          <dgm:forEach name="negSibTransForEach" axis="ch" ptType="sibTrans" hideLastTrans="0" cnt="1">
            <dgm:layoutNode name="negSibTrans">
              <dgm:alg type="sp"/>
              <dgm:shape xmlns:r="http://schemas.openxmlformats.org/officeDocument/2006/relationships" r:blip="">
                <dgm:adjLst/>
              </dgm:shape>
            </dgm:layoutNode>
          </dgm:forEach>
          <dgm:layoutNode name="composite">
            <dgm:alg type="composite">
              <dgm:param type="ar" val="0.5"/>
            </dgm:alg>
            <dgm:shape xmlns:r="http://schemas.openxmlformats.org/officeDocument/2006/relationships" r:blip="">
              <dgm:adjLst/>
            </dgm:shape>
            <dgm:choose name="Name103">
              <dgm:if name="Name104" func="var" arg="dir" op="equ" val="norm">
                <dgm:constrLst>
                  <dgm:constr type="l" for="ch" forName="Child" refType="w" fact="0"/>
                  <dgm:constr type="t" for="ch" forName="Child" refType="h" fact="0"/>
                  <dgm:constr type="w" for="ch" forName="Child" refType="w"/>
                  <dgm:constr type="h" for="ch" forName="Child" refType="h"/>
                </dgm:constrLst>
              </dgm:if>
              <dgm:else name="Name105">
                <dgm:constrLst>
                  <dgm:constr type="r" for="ch" forName="Child" refType="w"/>
                  <dgm:constr type="t" for="ch" forName="Child" refType="h" fact="0"/>
                  <dgm:constr type="w" for="ch" forName="Child" refType="w"/>
                  <dgm:constr type="h" for="ch" forName="Child" refType="h"/>
                </dgm:constrLst>
              </dgm:else>
            </dgm:choose>
            <dgm:ruleLst/>
            <dgm:layoutNode name="Child" styleLbl="revTx">
              <dgm:varLst>
                <dgm:chMax val="0"/>
                <dgm:chPref val="0"/>
                <dgm:bulletEnabled val="1"/>
              </dgm:varLst>
              <dgm:choose name="Name106">
                <dgm:if name="Name107" func="var" arg="dir" op="equ" val="norm">
                  <dgm:alg type="tx">
                    <dgm:param type="parTxLTRAlign" val="l"/>
                    <dgm:param type="parTxRTLAlign" val="r"/>
                    <dgm:param type="txAnchorVert" val="t"/>
                  </dgm:alg>
                </dgm:if>
                <dgm:else name="Name108">
                  <dgm:alg type="tx">
                    <dgm:param type="parTxLTRAlign" val="r"/>
                    <dgm:param type="parTxRTLAlign" val="l"/>
                    <dgm:param type="txAnchorVert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"/>
                <dgm:constr type="rMarg" refType="primFontSz" fact="0"/>
                <dgm:constr type="tMarg" refType="primFontSz" fact="0"/>
                <dgm:constr type="bMarg" refType="primFontSz" fact="0"/>
              </dgm:constrLst>
              <dgm:ruleLst>
                <dgm:rule type="primFontSz" val="5" fact="NaN" max="NaN"/>
              </dgm:ruleLst>
            </dgm:layoutNode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</dgm:layoutNode>
          </dgm:forEach>
        </dgm:if>
        <dgm:else name="Name109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8B42B7-21BD-514C-9322-63B6A413DDF2}" type="datetime1">
              <a:rPr lang="en-US" smtClean="0"/>
              <a:t>8/7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19933C-C5F1-1147-A588-0123CEDC937F}" type="datetime1">
              <a:rPr lang="en-US" smtClean="0"/>
              <a:t>8/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69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86" algn="l" defTabSz="4569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995" algn="l" defTabSz="4569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988" algn="l" defTabSz="4569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989" algn="l" defTabSz="4569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974" algn="l" defTabSz="4569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960" algn="l" defTabSz="4569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960" algn="l" defTabSz="4569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954" algn="l" defTabSz="4569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906838" y="1331913"/>
            <a:ext cx="15006638" cy="8442325"/>
          </a:xfrm>
          <a:solidFill>
            <a:srgbClr val="FFFFFF"/>
          </a:solidFill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2425" y="90488"/>
            <a:ext cx="6002338" cy="260350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pt-BR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2298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03344D-FFC8-1E48-B5D6-DDE69E6481AF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6930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Arquivos em </a:t>
            </a:r>
          </a:p>
          <a:p>
            <a:endParaRPr lang="pt-BR" dirty="0" smtClean="0"/>
          </a:p>
          <a:p>
            <a:r>
              <a:rPr lang="pt-BR" dirty="0" smtClean="0"/>
              <a:t>\\netprd03\RA_e_Fraude\FRAUDE\APRESENTAÇÃO 2015\Bases apresentação Funil\ARQUIVOS ESPECIFICOS CEZAR - BLOQUEIO POR PROD E BLOQ UTC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088766-34C5-4455-AB44-91717059963C}" type="slidenum">
              <a:rPr lang="pt-BR" smtClean="0">
                <a:solidFill>
                  <a:prstClr val="black"/>
                </a:solidFill>
              </a:rPr>
              <a:pPr/>
              <a:t>4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3404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prstClr val="black"/>
                </a:solidFill>
              </a:rPr>
              <a:pPr/>
              <a:t>5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50436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Arquivos em </a:t>
            </a:r>
          </a:p>
          <a:p>
            <a:endParaRPr lang="pt-BR" dirty="0" smtClean="0"/>
          </a:p>
          <a:p>
            <a:r>
              <a:rPr lang="pt-BR" dirty="0" smtClean="0"/>
              <a:t>\\netprd03\RA_e_Fraude\FRAUDE\APRESENTAÇÃO 2015\Bases apresentação Funil\ARQUIVOS ESPECIFICOS CEZAR - BLOQUEIO POR PROD E BLOQ UTC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088766-34C5-4455-AB44-91717059963C}" type="slidenum">
              <a:rPr lang="pt-BR" smtClean="0">
                <a:solidFill>
                  <a:prstClr val="black"/>
                </a:solidFill>
              </a:rPr>
              <a:pPr/>
              <a:t>8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3404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prstClr val="black"/>
                </a:solidFill>
              </a:rPr>
              <a:pPr/>
              <a:t>12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51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prstClr val="black"/>
                </a:solidFill>
              </a:rPr>
              <a:pPr/>
              <a:t>1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51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prstClr val="black"/>
                </a:solidFill>
              </a:rPr>
              <a:pPr/>
              <a:t>14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51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0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26" Type="http://schemas.openxmlformats.org/officeDocument/2006/relationships/tags" Target="../tags/tag71.xml"/><Relationship Id="rId3" Type="http://schemas.openxmlformats.org/officeDocument/2006/relationships/tags" Target="../tags/tag48.xml"/><Relationship Id="rId21" Type="http://schemas.openxmlformats.org/officeDocument/2006/relationships/tags" Target="../tags/tag66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5" Type="http://schemas.openxmlformats.org/officeDocument/2006/relationships/tags" Target="../tags/tag70.xml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tags" Target="../tags/tag65.xml"/><Relationship Id="rId29" Type="http://schemas.openxmlformats.org/officeDocument/2006/relationships/oleObject" Target="../embeddings/oleObject12.bin"/><Relationship Id="rId1" Type="http://schemas.openxmlformats.org/officeDocument/2006/relationships/vmlDrawing" Target="../drawings/vmlDrawing12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24" Type="http://schemas.openxmlformats.org/officeDocument/2006/relationships/tags" Target="../tags/tag69.xml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tags" Target="../tags/tag68.xml"/><Relationship Id="rId28" Type="http://schemas.openxmlformats.org/officeDocument/2006/relationships/slideMaster" Target="../slideMasters/slideMaster31.xml"/><Relationship Id="rId10" Type="http://schemas.openxmlformats.org/officeDocument/2006/relationships/tags" Target="../tags/tag55.xml"/><Relationship Id="rId19" Type="http://schemas.openxmlformats.org/officeDocument/2006/relationships/tags" Target="../tags/tag64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tags" Target="../tags/tag67.xml"/><Relationship Id="rId27" Type="http://schemas.openxmlformats.org/officeDocument/2006/relationships/tags" Target="../tags/tag72.xml"/><Relationship Id="rId30" Type="http://schemas.openxmlformats.org/officeDocument/2006/relationships/image" Target="../media/image3.emf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4" Type="http://schemas.openxmlformats.org/officeDocument/2006/relationships/image" Target="../media/image13.png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slideMaster" Target="../slideMasters/slideMaster9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image" Target="../media/image7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4" Type="http://schemas.openxmlformats.org/officeDocument/2006/relationships/image" Target="../media/image7.png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9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3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0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 userDrawn="1"/>
        </p:nvSpPr>
        <p:spPr>
          <a:xfrm>
            <a:off x="8468158" y="4840357"/>
            <a:ext cx="566531" cy="1789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511">
              <a:lnSpc>
                <a:spcPts val="1350"/>
              </a:lnSpc>
              <a:spcBef>
                <a:spcPts val="600"/>
              </a:spcBef>
            </a:pPr>
            <a:endParaRPr lang="pt-BR" sz="1200" i="1" dirty="0" smtClean="0">
              <a:solidFill>
                <a:prstClr val="black"/>
              </a:solidFill>
            </a:endParaRPr>
          </a:p>
        </p:txBody>
      </p:sp>
      <p:sp>
        <p:nvSpPr>
          <p:cNvPr id="4" name="CaixaDeTexto 3"/>
          <p:cNvSpPr txBox="1"/>
          <p:nvPr userDrawn="1"/>
        </p:nvSpPr>
        <p:spPr>
          <a:xfrm>
            <a:off x="8552320" y="4929826"/>
            <a:ext cx="398207" cy="1625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511">
              <a:lnSpc>
                <a:spcPts val="1350"/>
              </a:lnSpc>
              <a:spcBef>
                <a:spcPts val="600"/>
              </a:spcBef>
            </a:pPr>
            <a:fld id="{D4D58D87-8487-4709-9825-59DEF4D6437F}" type="slidenum">
              <a:rPr lang="pt-BR" sz="900" i="1" smtClean="0">
                <a:solidFill>
                  <a:prstClr val="black"/>
                </a:solidFill>
              </a:rPr>
              <a:pPr defTabSz="685511">
                <a:lnSpc>
                  <a:spcPts val="1350"/>
                </a:lnSpc>
                <a:spcBef>
                  <a:spcPts val="600"/>
                </a:spcBef>
              </a:pPr>
              <a:t>‹nº›</a:t>
            </a:fld>
            <a:endParaRPr lang="pt-BR" sz="900" i="1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480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68511" tIns="34289" rIns="68511" bIns="34289"/>
          <a:lstStyle/>
          <a:p>
            <a:pPr algn="ctr" defTabSz="456638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6638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7062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68511" tIns="34289" rIns="68511" bIns="34289"/>
          <a:lstStyle/>
          <a:p>
            <a:pPr algn="ctr" defTabSz="456638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6638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791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994256"/>
      </p:ext>
    </p:extLst>
  </p:cSld>
  <p:clrMapOvr>
    <a:masterClrMapping/>
  </p:clrMapOvr>
  <p:transition advClick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3" y="176157"/>
            <a:ext cx="827576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42920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67"/>
            <a:ext cx="7772400" cy="1102519"/>
          </a:xfrm>
          <a:prstGeom prst="rect">
            <a:avLst/>
          </a:prstGeom>
        </p:spPr>
        <p:txBody>
          <a:bodyPr lIns="68511" tIns="34289" rIns="68511" bIns="34289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68511" tIns="34289" rIns="68511" bIns="34289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5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7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0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68511" tIns="34289" rIns="68511" bIns="34289"/>
          <a:lstStyle/>
          <a:p>
            <a:pPr defTabSz="685018"/>
            <a:fld id="{A8A24E33-00BC-4680-9BB0-2C6DF69D59D1}" type="datetimeFigureOut">
              <a:rPr lang="pt-BR" sz="1400" smtClean="0">
                <a:solidFill>
                  <a:prstClr val="black"/>
                </a:solidFill>
              </a:rPr>
              <a:pPr defTabSz="685018"/>
              <a:t>07/08/2017</a:t>
            </a:fld>
            <a:endParaRPr lang="pt-BR" sz="1400">
              <a:solidFill>
                <a:prstClr val="black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68511" tIns="34289" rIns="68511" bIns="34289"/>
          <a:lstStyle/>
          <a:p>
            <a:pPr defTabSz="685018"/>
            <a:endParaRPr lang="pt-BR" sz="1400">
              <a:solidFill>
                <a:prstClr val="black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68511" tIns="34289" rIns="68511" bIns="34289"/>
          <a:lstStyle/>
          <a:p>
            <a:pPr defTabSz="685018"/>
            <a:fld id="{638FB022-31A3-4728-AE1E-A03F501DC4DC}" type="slidenum">
              <a:rPr lang="pt-BR" sz="1400" smtClean="0">
                <a:solidFill>
                  <a:prstClr val="black"/>
                </a:solidFill>
              </a:rPr>
              <a:pPr defTabSz="685018"/>
              <a:t>‹nº›</a:t>
            </a:fld>
            <a:endParaRPr lang="pt-BR" sz="1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82178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 userDrawn="1"/>
        </p:nvSpPr>
        <p:spPr>
          <a:xfrm>
            <a:off x="8468153" y="4840357"/>
            <a:ext cx="566531" cy="1789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596">
              <a:lnSpc>
                <a:spcPts val="1350"/>
              </a:lnSpc>
              <a:spcBef>
                <a:spcPts val="600"/>
              </a:spcBef>
            </a:pPr>
            <a:endParaRPr lang="pt-BR" sz="1200" i="1" dirty="0" smtClean="0">
              <a:solidFill>
                <a:prstClr val="black"/>
              </a:solidFill>
            </a:endParaRPr>
          </a:p>
        </p:txBody>
      </p:sp>
      <p:sp>
        <p:nvSpPr>
          <p:cNvPr id="4" name="CaixaDeTexto 3"/>
          <p:cNvSpPr txBox="1"/>
          <p:nvPr userDrawn="1"/>
        </p:nvSpPr>
        <p:spPr>
          <a:xfrm>
            <a:off x="8552315" y="4929821"/>
            <a:ext cx="398207" cy="1625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596">
              <a:lnSpc>
                <a:spcPts val="1350"/>
              </a:lnSpc>
              <a:spcBef>
                <a:spcPts val="600"/>
              </a:spcBef>
            </a:pPr>
            <a:fld id="{D4D58D87-8487-4709-9825-59DEF4D6437F}" type="slidenum">
              <a:rPr lang="pt-BR" sz="900" i="1" smtClean="0">
                <a:solidFill>
                  <a:prstClr val="black"/>
                </a:solidFill>
              </a:rPr>
              <a:pPr defTabSz="685596">
                <a:lnSpc>
                  <a:spcPts val="1350"/>
                </a:lnSpc>
                <a:spcBef>
                  <a:spcPts val="600"/>
                </a:spcBef>
              </a:pPr>
              <a:t>‹nº›</a:t>
            </a:fld>
            <a:endParaRPr lang="pt-BR" sz="900" i="1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842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68562" tIns="34289" rIns="68562" bIns="34289"/>
          <a:lstStyle/>
          <a:p>
            <a:pPr algn="ctr" defTabSz="457046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7046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111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68562" tIns="34289" rIns="68562" bIns="34289"/>
          <a:lstStyle/>
          <a:p>
            <a:pPr algn="ctr" defTabSz="457046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7046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6054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5464078"/>
      </p:ext>
    </p:extLst>
  </p:cSld>
  <p:clrMapOvr>
    <a:masterClrMapping/>
  </p:clrMapOvr>
  <p:transition advClick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3" y="176157"/>
            <a:ext cx="827576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18798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68555" tIns="34289" rIns="68555" bIns="34289"/>
          <a:lstStyle/>
          <a:p>
            <a:pPr algn="ctr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238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33"/>
            <a:ext cx="7772400" cy="1102519"/>
          </a:xfrm>
          <a:prstGeom prst="rect">
            <a:avLst/>
          </a:prstGeom>
        </p:spPr>
        <p:txBody>
          <a:bodyPr lIns="68562" tIns="34289" rIns="68562" bIns="34289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68562" tIns="34289" rIns="68562" bIns="34289"/>
          <a:lstStyle/>
          <a:p>
            <a:pPr defTabSz="685596"/>
            <a:fld id="{A8A24E33-00BC-4680-9BB0-2C6DF69D59D1}" type="datetimeFigureOut">
              <a:rPr lang="pt-BR" sz="1400" smtClean="0">
                <a:solidFill>
                  <a:prstClr val="black"/>
                </a:solidFill>
              </a:rPr>
              <a:pPr defTabSz="685596"/>
              <a:t>07/08/2017</a:t>
            </a:fld>
            <a:endParaRPr lang="pt-BR" sz="1400">
              <a:solidFill>
                <a:prstClr val="black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68562" tIns="34289" rIns="68562" bIns="34289"/>
          <a:lstStyle/>
          <a:p>
            <a:pPr defTabSz="685596"/>
            <a:endParaRPr lang="pt-BR" sz="1400">
              <a:solidFill>
                <a:prstClr val="black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68562" tIns="34289" rIns="68562" bIns="34289"/>
          <a:lstStyle/>
          <a:p>
            <a:pPr defTabSz="685596"/>
            <a:fld id="{638FB022-31A3-4728-AE1E-A03F501DC4DC}" type="slidenum">
              <a:rPr lang="pt-BR" sz="1400" smtClean="0">
                <a:solidFill>
                  <a:prstClr val="black"/>
                </a:solidFill>
              </a:rPr>
              <a:pPr defTabSz="685596"/>
              <a:t>‹nº›</a:t>
            </a:fld>
            <a:endParaRPr lang="pt-BR" sz="1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82998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 userDrawn="1"/>
        </p:nvSpPr>
        <p:spPr>
          <a:xfrm>
            <a:off x="8468258" y="4840357"/>
            <a:ext cx="566531" cy="1789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2938">
              <a:lnSpc>
                <a:spcPts val="1350"/>
              </a:lnSpc>
              <a:spcBef>
                <a:spcPts val="600"/>
              </a:spcBef>
            </a:pPr>
            <a:endParaRPr lang="pt-BR" sz="1200" i="1" dirty="0" smtClean="0">
              <a:solidFill>
                <a:prstClr val="black"/>
              </a:solidFill>
            </a:endParaRPr>
          </a:p>
        </p:txBody>
      </p:sp>
      <p:sp>
        <p:nvSpPr>
          <p:cNvPr id="4" name="CaixaDeTexto 3"/>
          <p:cNvSpPr txBox="1"/>
          <p:nvPr userDrawn="1"/>
        </p:nvSpPr>
        <p:spPr>
          <a:xfrm>
            <a:off x="8552430" y="4929933"/>
            <a:ext cx="398207" cy="1625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2938">
              <a:lnSpc>
                <a:spcPts val="1350"/>
              </a:lnSpc>
              <a:spcBef>
                <a:spcPts val="600"/>
              </a:spcBef>
            </a:pPr>
            <a:fld id="{D4D58D87-8487-4709-9825-59DEF4D6437F}" type="slidenum">
              <a:rPr lang="pt-BR" sz="900" i="1" smtClean="0">
                <a:solidFill>
                  <a:prstClr val="black"/>
                </a:solidFill>
              </a:rPr>
              <a:pPr defTabSz="682938">
                <a:lnSpc>
                  <a:spcPts val="1350"/>
                </a:lnSpc>
                <a:spcBef>
                  <a:spcPts val="600"/>
                </a:spcBef>
              </a:pPr>
              <a:t>‹nº›</a:t>
            </a:fld>
            <a:endParaRPr lang="pt-BR" sz="900" i="1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202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74"/>
            <a:ext cx="306000" cy="122400"/>
          </a:xfrm>
          <a:prstGeom prst="rect">
            <a:avLst/>
          </a:prstGeom>
        </p:spPr>
        <p:txBody>
          <a:bodyPr lIns="68318" tIns="34247" rIns="68318" bIns="34247"/>
          <a:lstStyle/>
          <a:p>
            <a:pPr algn="ctr" defTabSz="455207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5207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074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74"/>
            <a:ext cx="306000" cy="122400"/>
          </a:xfrm>
          <a:prstGeom prst="rect">
            <a:avLst/>
          </a:prstGeom>
          <a:noFill/>
        </p:spPr>
        <p:txBody>
          <a:bodyPr lIns="68318" tIns="34247" rIns="68318" bIns="34247"/>
          <a:lstStyle/>
          <a:p>
            <a:pPr algn="ctr" defTabSz="455207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5207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545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8583054"/>
      </p:ext>
    </p:extLst>
  </p:cSld>
  <p:clrMapOvr>
    <a:masterClrMapping/>
  </p:clrMapOvr>
  <p:transition advClick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565" y="176229"/>
            <a:ext cx="827576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01264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68318" tIns="34247" rIns="68318" bIns="34247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60"/>
            <a:ext cx="8229600" cy="3394472"/>
          </a:xfrm>
          <a:prstGeom prst="rect">
            <a:avLst/>
          </a:prstGeom>
        </p:spPr>
        <p:txBody>
          <a:bodyPr lIns="68318" tIns="34247" rIns="68318" bIns="34247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68318" tIns="34247" rIns="68318" bIns="34247"/>
          <a:lstStyle/>
          <a:p>
            <a:pPr defTabSz="682938"/>
            <a:fld id="{BC711CD1-8DA5-4522-99DE-CB20BD536A20}" type="datetimeFigureOut">
              <a:rPr lang="pt-BR" sz="1400" smtClean="0">
                <a:solidFill>
                  <a:prstClr val="black">
                    <a:tint val="75000"/>
                  </a:prstClr>
                </a:solidFill>
              </a:rPr>
              <a:pPr defTabSz="682938"/>
              <a:t>07/08/2017</a:t>
            </a:fld>
            <a:endParaRPr lang="pt-BR" sz="14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1" y="4767264"/>
            <a:ext cx="2895600" cy="273844"/>
          </a:xfrm>
          <a:prstGeom prst="rect">
            <a:avLst/>
          </a:prstGeom>
        </p:spPr>
        <p:txBody>
          <a:bodyPr lIns="68318" tIns="34247" rIns="68318" bIns="34247"/>
          <a:lstStyle/>
          <a:p>
            <a:pPr defTabSz="682938"/>
            <a:endParaRPr lang="pt-BR" sz="14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68318" tIns="34247" rIns="68318" bIns="34247"/>
          <a:lstStyle/>
          <a:p>
            <a:pPr defTabSz="682938"/>
            <a:fld id="{8C8B1907-7AD0-4D68-A9DB-7096FA7D71F8}" type="slidenum">
              <a:rPr lang="pt-BR" sz="1400" smtClean="0">
                <a:solidFill>
                  <a:prstClr val="black">
                    <a:tint val="75000"/>
                  </a:prstClr>
                </a:solidFill>
              </a:rPr>
              <a:pPr defTabSz="682938"/>
              <a:t>‹nº›</a:t>
            </a:fld>
            <a:endParaRPr lang="pt-BR" sz="140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84204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 userDrawn="1"/>
        </p:nvSpPr>
        <p:spPr>
          <a:xfrm>
            <a:off x="8468172" y="4840357"/>
            <a:ext cx="566531" cy="1789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273">
              <a:lnSpc>
                <a:spcPts val="1350"/>
              </a:lnSpc>
              <a:spcBef>
                <a:spcPts val="600"/>
              </a:spcBef>
            </a:pPr>
            <a:endParaRPr lang="pt-BR" sz="1200" i="1" dirty="0" smtClean="0">
              <a:solidFill>
                <a:prstClr val="black"/>
              </a:solidFill>
            </a:endParaRPr>
          </a:p>
        </p:txBody>
      </p:sp>
      <p:sp>
        <p:nvSpPr>
          <p:cNvPr id="4" name="CaixaDeTexto 3"/>
          <p:cNvSpPr txBox="1"/>
          <p:nvPr userDrawn="1"/>
        </p:nvSpPr>
        <p:spPr>
          <a:xfrm>
            <a:off x="8552334" y="4929840"/>
            <a:ext cx="398207" cy="1625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273">
              <a:lnSpc>
                <a:spcPts val="1350"/>
              </a:lnSpc>
              <a:spcBef>
                <a:spcPts val="600"/>
              </a:spcBef>
            </a:pPr>
            <a:fld id="{D4D58D87-8487-4709-9825-59DEF4D6437F}" type="slidenum">
              <a:rPr lang="pt-BR" sz="900" i="1" smtClean="0">
                <a:solidFill>
                  <a:prstClr val="black"/>
                </a:solidFill>
              </a:rPr>
              <a:pPr defTabSz="685273">
                <a:lnSpc>
                  <a:spcPts val="1350"/>
                </a:lnSpc>
                <a:spcBef>
                  <a:spcPts val="600"/>
                </a:spcBef>
              </a:pPr>
              <a:t>‹nº›</a:t>
            </a:fld>
            <a:endParaRPr lang="pt-BR" sz="900" i="1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772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68534" tIns="34289" rIns="68534" bIns="34289"/>
          <a:lstStyle/>
          <a:p>
            <a:pPr algn="ctr" defTabSz="456818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6818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631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68534" tIns="34289" rIns="68534" bIns="34289"/>
          <a:lstStyle/>
          <a:p>
            <a:pPr algn="ctr" defTabSz="456818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6818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978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68555" tIns="34289" rIns="68555" bIns="34289"/>
          <a:lstStyle/>
          <a:p>
            <a:pPr algn="ctr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692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0326204"/>
      </p:ext>
    </p:extLst>
  </p:cSld>
  <p:clrMapOvr>
    <a:masterClrMapping/>
  </p:clrMapOvr>
  <p:transition advClick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3" y="176157"/>
            <a:ext cx="827576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28705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52"/>
            <a:ext cx="7772400" cy="1102519"/>
          </a:xfrm>
          <a:prstGeom prst="rect">
            <a:avLst/>
          </a:prstGeom>
        </p:spPr>
        <p:txBody>
          <a:bodyPr lIns="68534" tIns="34289" rIns="68534" bIns="34289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68534" tIns="34289" rIns="68534" bIns="34289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68534" tIns="34289" rIns="68534" bIns="34289"/>
          <a:lstStyle/>
          <a:p>
            <a:pPr defTabSz="685273"/>
            <a:fld id="{A8A24E33-00BC-4680-9BB0-2C6DF69D59D1}" type="datetimeFigureOut">
              <a:rPr lang="pt-BR" sz="1400" smtClean="0">
                <a:solidFill>
                  <a:prstClr val="black"/>
                </a:solidFill>
              </a:rPr>
              <a:pPr defTabSz="685273"/>
              <a:t>07/08/2017</a:t>
            </a:fld>
            <a:endParaRPr lang="pt-BR" sz="1400">
              <a:solidFill>
                <a:prstClr val="black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68534" tIns="34289" rIns="68534" bIns="34289"/>
          <a:lstStyle/>
          <a:p>
            <a:pPr defTabSz="685273"/>
            <a:endParaRPr lang="pt-BR" sz="1400">
              <a:solidFill>
                <a:prstClr val="black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68534" tIns="34289" rIns="68534" bIns="34289"/>
          <a:lstStyle/>
          <a:p>
            <a:pPr defTabSz="685273"/>
            <a:fld id="{638FB022-31A3-4728-AE1E-A03F501DC4DC}" type="slidenum">
              <a:rPr lang="pt-BR" sz="1400" smtClean="0">
                <a:solidFill>
                  <a:prstClr val="black"/>
                </a:solidFill>
              </a:rPr>
              <a:pPr defTabSz="685273"/>
              <a:t>‹nº›</a:t>
            </a:fld>
            <a:endParaRPr lang="pt-BR" sz="1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14784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 txBox="1"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8720217" y="4948014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84" tIns="45642" rIns="91284" bIns="45642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8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8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3" name="Footer Placeholder 2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5773025" y="4951192"/>
            <a:ext cx="2894573" cy="273050"/>
          </a:xfrm>
          <a:prstGeom prst="rect">
            <a:avLst/>
          </a:prstGeom>
        </p:spPr>
        <p:txBody>
          <a:bodyPr lIns="91284" tIns="45642" rIns="91284" bIns="45642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en-US" sz="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TERIAL CONFIDENCIAL  |  SLIDE Nº</a:t>
            </a:r>
            <a:endParaRPr lang="en-US" sz="8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92788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91284" tIns="45642" rIns="91284" bIns="45642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4"/>
            <a:ext cx="8229600" cy="3394472"/>
          </a:xfrm>
          <a:prstGeom prst="rect">
            <a:avLst/>
          </a:prstGeom>
        </p:spPr>
        <p:txBody>
          <a:bodyPr lIns="91284" tIns="45642" rIns="91284" bIns="45642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Slide Number Placeholder 1"/>
          <p:cNvSpPr txBox="1"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8720217" y="4948014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84" tIns="45642" rIns="91284" bIns="45642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8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8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5773025" y="4951192"/>
            <a:ext cx="2894573" cy="273050"/>
          </a:xfrm>
          <a:prstGeom prst="rect">
            <a:avLst/>
          </a:prstGeom>
        </p:spPr>
        <p:txBody>
          <a:bodyPr lIns="91284" tIns="45642" rIns="91284" bIns="45642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en-US" sz="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TERIAL CONFIDENCIAL  |  SLIDE Nº</a:t>
            </a:r>
            <a:endParaRPr lang="en-US" sz="8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7616694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68463" tIns="34289" rIns="68463" bIns="34289"/>
          <a:lstStyle/>
          <a:p>
            <a:pPr algn="ctr" defTabSz="456254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6254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050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7834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dr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576001" y="916031"/>
            <a:ext cx="8002160" cy="3907609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ts val="2000"/>
              </a:lnSpc>
              <a:spcBef>
                <a:spcPts val="900"/>
              </a:spcBef>
              <a:spcAft>
                <a:spcPts val="0"/>
              </a:spcAft>
              <a:buNone/>
              <a:defRPr sz="1800" b="0" i="0">
                <a:latin typeface="Museo Sans 300"/>
                <a:cs typeface="Museo Sans 300"/>
              </a:defRPr>
            </a:lvl1pPr>
            <a:lvl2pPr marL="174321" indent="-169559">
              <a:lnSpc>
                <a:spcPts val="2000"/>
              </a:lnSpc>
              <a:spcBef>
                <a:spcPts val="900"/>
              </a:spcBef>
              <a:spcAft>
                <a:spcPts val="0"/>
              </a:spcAft>
              <a:buSzPct val="45000"/>
              <a:buFont typeface="Arial" pitchFamily="34" charset="0"/>
              <a:buChar char="•"/>
              <a:defRPr b="0" i="0" baseline="0">
                <a:latin typeface="Museo Sans 300"/>
                <a:cs typeface="Museo Sans 300"/>
              </a:defRPr>
            </a:lvl2pPr>
            <a:lvl3pPr marL="912690" indent="0">
              <a:lnSpc>
                <a:spcPts val="2200"/>
              </a:lnSpc>
              <a:spcBef>
                <a:spcPts val="0"/>
              </a:spcBef>
              <a:buNone/>
              <a:defRPr b="0" i="0">
                <a:latin typeface="Museo Sans 300"/>
                <a:cs typeface="Museo Sans 300"/>
              </a:defRPr>
            </a:lvl3pPr>
            <a:lvl4pPr marL="1369016" indent="0">
              <a:lnSpc>
                <a:spcPts val="2200"/>
              </a:lnSpc>
              <a:spcBef>
                <a:spcPts val="0"/>
              </a:spcBef>
              <a:buNone/>
              <a:defRPr b="0" i="0">
                <a:latin typeface="Museo Sans 300"/>
                <a:cs typeface="Museo Sans 300"/>
              </a:defRPr>
            </a:lvl4pPr>
            <a:lvl5pPr marL="1825379" indent="0">
              <a:lnSpc>
                <a:spcPts val="2200"/>
              </a:lnSpc>
              <a:spcBef>
                <a:spcPts val="0"/>
              </a:spcBef>
              <a:buNone/>
              <a:defRPr b="0" i="0">
                <a:latin typeface="Museo Sans 300"/>
                <a:cs typeface="Museo Sans 300"/>
              </a:defRPr>
            </a:lvl5pPr>
          </a:lstStyle>
          <a:p>
            <a:pPr lvl="0"/>
            <a:r>
              <a:rPr lang="pt-BR" noProof="0" dirty="0" smtClean="0"/>
              <a:t>Neste estilo você pode ter texto corrido.</a:t>
            </a:r>
          </a:p>
          <a:p>
            <a:pPr lvl="1"/>
            <a:r>
              <a:rPr lang="pt-BR" noProof="0" dirty="0" smtClean="0"/>
              <a:t>Também pode ter bullet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6082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76000" y="322266"/>
            <a:ext cx="7992268" cy="32796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400"/>
              </a:lnSpc>
              <a:spcBef>
                <a:spcPts val="1100"/>
              </a:spcBef>
              <a:defRPr sz="2200" b="0" i="1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r>
              <a:rPr lang="pt-BR" noProof="0" dirty="0" smtClean="0"/>
              <a:t>Insira o título, sempre terminando com ponto final.</a:t>
            </a:r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3056651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1"/>
          <p:cNvSpPr txBox="1"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8720217" y="4948014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84" tIns="45642" rIns="91284" bIns="45642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8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8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" name="Footer Placeholder 2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5773025" y="4951192"/>
            <a:ext cx="2894573" cy="273050"/>
          </a:xfrm>
          <a:prstGeom prst="rect">
            <a:avLst/>
          </a:prstGeom>
        </p:spPr>
        <p:txBody>
          <a:bodyPr lIns="91284" tIns="45642" rIns="91284" bIns="45642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en-US" sz="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MATERIAL CONFIDENCIAL  |  SLIDE Nº</a:t>
            </a:r>
            <a:endParaRPr lang="en-US" sz="8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4679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9806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 userDrawn="1"/>
        </p:nvSpPr>
        <p:spPr>
          <a:xfrm>
            <a:off x="8468171" y="4840357"/>
            <a:ext cx="566531" cy="1789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4383">
              <a:lnSpc>
                <a:spcPts val="1350"/>
              </a:lnSpc>
              <a:spcBef>
                <a:spcPts val="600"/>
              </a:spcBef>
            </a:pPr>
            <a:endParaRPr lang="pt-BR" sz="1200" i="1" dirty="0" smtClean="0">
              <a:solidFill>
                <a:prstClr val="black"/>
              </a:solidFill>
            </a:endParaRPr>
          </a:p>
        </p:txBody>
      </p:sp>
      <p:sp>
        <p:nvSpPr>
          <p:cNvPr id="4" name="CaixaDeTexto 3"/>
          <p:cNvSpPr txBox="1"/>
          <p:nvPr userDrawn="1"/>
        </p:nvSpPr>
        <p:spPr>
          <a:xfrm>
            <a:off x="8552343" y="4929847"/>
            <a:ext cx="398207" cy="1625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4383">
              <a:lnSpc>
                <a:spcPts val="1350"/>
              </a:lnSpc>
              <a:spcBef>
                <a:spcPts val="600"/>
              </a:spcBef>
            </a:pPr>
            <a:fld id="{D4D58D87-8487-4709-9825-59DEF4D6437F}" type="slidenum">
              <a:rPr lang="pt-BR" sz="900" i="1" smtClean="0">
                <a:solidFill>
                  <a:prstClr val="black"/>
                </a:solidFill>
              </a:rPr>
              <a:pPr defTabSz="684383">
                <a:lnSpc>
                  <a:spcPts val="1350"/>
                </a:lnSpc>
                <a:spcBef>
                  <a:spcPts val="600"/>
                </a:spcBef>
              </a:pPr>
              <a:t>‹nº›</a:t>
            </a:fld>
            <a:endParaRPr lang="pt-BR" sz="900" i="1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9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91416" tIns="45708" rIns="91416" bIns="45708"/>
          <a:lstStyle/>
          <a:p>
            <a:pPr algn="ctr" defTabSz="457058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058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073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91416" tIns="45708" rIns="91416" bIns="45708"/>
          <a:lstStyle/>
          <a:p>
            <a:pPr algn="ctr" defTabSz="457058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058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747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68562" tIns="34289" rIns="68562" bIns="34289"/>
          <a:lstStyle/>
          <a:p>
            <a:pPr defTabSz="457058"/>
            <a:fld id="{8C8B1907-7AD0-4D68-A9DB-7096FA7D71F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457058"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890488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5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2"/>
          <p:cNvSpPr>
            <a:spLocks noGrp="1"/>
          </p:cNvSpPr>
          <p:nvPr>
            <p:ph type="ctrTitle"/>
          </p:nvPr>
        </p:nvSpPr>
        <p:spPr bwMode="auto">
          <a:xfrm>
            <a:off x="463551" y="401645"/>
            <a:ext cx="8502650" cy="711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8" tIns="45692" rIns="91388" bIns="45692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4200"/>
              </a:lnSpc>
              <a:spcBef>
                <a:spcPct val="0"/>
              </a:spcBef>
              <a:defRPr>
                <a:solidFill>
                  <a:schemeClr val="accent1"/>
                </a:solidFill>
                <a:latin typeface="Simplon Oi Headline" pitchFamily="50" charset="0"/>
              </a:defRPr>
            </a:lvl1pPr>
          </a:lstStyle>
          <a:p>
            <a:pPr>
              <a:lnSpc>
                <a:spcPts val="5600"/>
              </a:lnSpc>
              <a:spcBef>
                <a:spcPct val="0"/>
              </a:spcBef>
            </a:pPr>
            <a:endParaRPr lang="en-US" altLang="pt-BR" sz="5600" i="0" dirty="0" smtClean="0">
              <a:solidFill>
                <a:schemeClr val="bg1"/>
              </a:solidFill>
              <a:latin typeface="Simplon Oi Headline" pitchFamily="2" charset="0"/>
              <a:cs typeface="Arial" pitchFamily="34" charset="0"/>
            </a:endParaRPr>
          </a:p>
        </p:txBody>
      </p:sp>
      <p:pic>
        <p:nvPicPr>
          <p:cNvPr id="8" name="Picture 4" descr="Oi_todomundo_logo_1_c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1613" y="2662239"/>
            <a:ext cx="2024062" cy="202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1"/>
          <p:cNvSpPr txBox="1">
            <a:spLocks/>
          </p:cNvSpPr>
          <p:nvPr userDrawn="1"/>
        </p:nvSpPr>
        <p:spPr>
          <a:xfrm>
            <a:off x="146978" y="4676165"/>
            <a:ext cx="4079335" cy="288000"/>
          </a:xfrm>
          <a:prstGeom prst="rect">
            <a:avLst/>
          </a:prstGeom>
        </p:spPr>
        <p:txBody>
          <a:bodyPr lIns="91388" tIns="45692" rIns="91388" bIns="45692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 baseline="0">
                <a:solidFill>
                  <a:srgbClr val="FFFFFF"/>
                </a:solidFill>
                <a:latin typeface="Simplon BP Light" pitchFamily="2" charset="0"/>
                <a:ea typeface="+mn-ea"/>
                <a:cs typeface="Arial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i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O – </a:t>
            </a:r>
            <a:r>
              <a:rPr lang="pt-BR" i="1" dirty="0" err="1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ransformation</a:t>
            </a:r>
            <a:r>
              <a:rPr lang="pt-BR" i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Office</a:t>
            </a:r>
            <a:endParaRPr lang="pt-BR" i="1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131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5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08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9223" y="12719"/>
            <a:ext cx="815863" cy="576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6544" y="4999500"/>
            <a:ext cx="837456" cy="144000"/>
          </a:xfrm>
          <a:prstGeom prst="rect">
            <a:avLst/>
          </a:prstGeom>
        </p:spPr>
        <p:txBody>
          <a:bodyPr lIns="0" tIns="0" rIns="71959" bIns="0" anchor="ctr" anchorCtr="0"/>
          <a:lstStyle>
            <a:lvl1pPr algn="r">
              <a:lnSpc>
                <a:spcPct val="80000"/>
              </a:lnSpc>
              <a:defRPr sz="800">
                <a:solidFill>
                  <a:schemeClr val="accent2"/>
                </a:solidFill>
                <a:latin typeface="Simplon Oi Headline" pitchFamily="50" charset="0"/>
                <a:cs typeface="Arial"/>
              </a:defRPr>
            </a:lvl1pPr>
          </a:lstStyle>
          <a:p>
            <a:pPr defTabSz="456929"/>
            <a:fld id="{34F21757-CAEC-9B46-BA5E-8BB41E742229}" type="slidenum">
              <a:rPr lang="en-US" smtClean="0">
                <a:solidFill>
                  <a:srgbClr val="4D4D4D"/>
                </a:solidFill>
              </a:rPr>
              <a:pPr defTabSz="456929"/>
              <a:t>‹nº›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177801" y="187101"/>
            <a:ext cx="7994600" cy="4320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000" b="0">
                <a:solidFill>
                  <a:schemeClr val="accent1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95054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074864"/>
            <a:ext cx="7886700" cy="993775"/>
          </a:xfrm>
          <a:prstGeom prst="rect">
            <a:avLst/>
          </a:prstGeom>
        </p:spPr>
        <p:txBody>
          <a:bodyPr anchor="ctr"/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33" descr="D:\OI 2014\1. JASON\Oi_Logos\Oi_mass_logo_1_1c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577" y="180998"/>
            <a:ext cx="360000" cy="386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2511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778" name="Picture 2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6689" y="1946398"/>
            <a:ext cx="1910624" cy="1349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868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 defTabSz="457189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189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1795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15130" y="1635646"/>
            <a:ext cx="5001344" cy="857250"/>
          </a:xfrm>
          <a:prstGeom prst="rect">
            <a:avLst/>
          </a:prstGeom>
        </p:spPr>
        <p:txBody>
          <a:bodyPr vert="horz" lIns="82541" tIns="41276" rIns="82541" bIns="41276" rtlCol="0" anchor="t">
            <a:noAutofit/>
          </a:bodyPr>
          <a:lstStyle>
            <a:lvl1pPr>
              <a:defRPr sz="3500" b="1"/>
            </a:lvl1pPr>
          </a:lstStyle>
          <a:p>
            <a:r>
              <a:rPr lang="x-none" dirty="0" smtClean="0"/>
              <a:t>Título com letra Arial</a:t>
            </a:r>
            <a:br>
              <a:rPr lang="x-none" dirty="0" smtClean="0"/>
            </a:br>
            <a:r>
              <a:rPr lang="x-none" dirty="0" smtClean="0"/>
              <a:t>Bold tamanho 38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347526" y="2860154"/>
            <a:ext cx="4968875" cy="647700"/>
          </a:xfrm>
          <a:prstGeom prst="rect">
            <a:avLst/>
          </a:prstGeom>
        </p:spPr>
        <p:txBody>
          <a:bodyPr vert="horz" lIns="82541" tIns="41276" rIns="82541" bIns="41276"/>
          <a:lstStyle>
            <a:lvl1pPr>
              <a:defRPr baseline="0"/>
            </a:lvl1pPr>
          </a:lstStyle>
          <a:p>
            <a:pPr lvl="0"/>
            <a:r>
              <a:rPr lang="x-none" dirty="0" smtClean="0"/>
              <a:t>Referência (Dpto, cidade, etc.) | Ano</a:t>
            </a:r>
          </a:p>
          <a:p>
            <a:pPr lvl="0"/>
            <a:r>
              <a:rPr lang="x-none" dirty="0" smtClean="0"/>
              <a:t>Usar letra Arial tamanho 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81704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32"/>
          <p:cNvSpPr txBox="1">
            <a:spLocks noChangeArrowheads="1"/>
          </p:cNvSpPr>
          <p:nvPr userDrawn="1"/>
        </p:nvSpPr>
        <p:spPr bwMode="auto">
          <a:xfrm>
            <a:off x="8172423" y="4881645"/>
            <a:ext cx="860476" cy="25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541" tIns="41276" rIns="82541" bIns="41276">
            <a:spAutoFit/>
          </a:bodyPr>
          <a:lstStyle/>
          <a:p>
            <a:pPr algn="ctr" defTabSz="412712" eaLnBrk="0" hangingPunct="0">
              <a:spcBef>
                <a:spcPct val="50000"/>
              </a:spcBef>
              <a:defRPr/>
            </a:pPr>
            <a:r>
              <a:rPr lang="en-US" sz="1100" smtClean="0">
                <a:solidFill>
                  <a:srgbClr val="0099AB"/>
                </a:solidFill>
                <a:latin typeface="Neo Tech Pro" pitchFamily="34" charset="0"/>
                <a:ea typeface="ＭＳ Ｐゴシック" pitchFamily="34" charset="-128"/>
                <a:cs typeface="Arial" pitchFamily="34" charset="0"/>
              </a:rPr>
              <a:t>&gt;&gt; 0</a:t>
            </a:r>
            <a:fld id="{32B6E4E6-CAFA-4F9A-B0B3-C424BB12C6F8}" type="slidenum">
              <a:rPr lang="en-US" sz="1100" smtClean="0">
                <a:solidFill>
                  <a:srgbClr val="0099AB"/>
                </a:solidFill>
                <a:latin typeface="Neo Tech Pro" pitchFamily="34" charset="0"/>
                <a:ea typeface="ＭＳ Ｐゴシック" pitchFamily="34" charset="-128"/>
                <a:cs typeface="Arial" pitchFamily="34" charset="0"/>
              </a:rPr>
              <a:pPr algn="ctr" defTabSz="412712" eaLnBrk="0" hangingPunct="0">
                <a:spcBef>
                  <a:spcPct val="50000"/>
                </a:spcBef>
                <a:defRPr/>
              </a:pPr>
              <a:t>‹nº›</a:t>
            </a:fld>
            <a:endParaRPr lang="en-US" sz="1100" dirty="0">
              <a:solidFill>
                <a:srgbClr val="0099AB"/>
              </a:solidFill>
              <a:latin typeface="Neo Tech Pro" pitchFamily="34" charset="0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15148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74"/>
            <a:ext cx="306000" cy="122400"/>
          </a:xfrm>
          <a:prstGeom prst="rect">
            <a:avLst/>
          </a:prstGeom>
        </p:spPr>
        <p:txBody>
          <a:bodyPr lIns="68445" tIns="34247" rIns="68445" bIns="34247"/>
          <a:lstStyle/>
          <a:p>
            <a:pPr algn="ctr" defTabSz="456227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6227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0032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22506" y="2212500"/>
            <a:ext cx="166981" cy="348934"/>
          </a:xfrm>
          <a:prstGeom prst="rect">
            <a:avLst/>
          </a:prstGeom>
          <a:noFill/>
        </p:spPr>
        <p:txBody>
          <a:bodyPr wrap="none" lIns="82541" tIns="41276" rIns="82541" bIns="41276" rtlCol="0">
            <a:spAutoFit/>
          </a:bodyPr>
          <a:lstStyle/>
          <a:p>
            <a:pPr defTabSz="412712"/>
            <a:endParaRPr lang="en-US" sz="1700" dirty="0">
              <a:solidFill>
                <a:prstClr val="black"/>
              </a:solidFill>
            </a:endParaRPr>
          </a:p>
        </p:txBody>
      </p:sp>
      <p:sp>
        <p:nvSpPr>
          <p:cNvPr id="4" name="Text Box 32"/>
          <p:cNvSpPr txBox="1">
            <a:spLocks noChangeArrowheads="1"/>
          </p:cNvSpPr>
          <p:nvPr userDrawn="1"/>
        </p:nvSpPr>
        <p:spPr bwMode="auto">
          <a:xfrm>
            <a:off x="8172423" y="4881645"/>
            <a:ext cx="860476" cy="25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541" tIns="41276" rIns="82541" bIns="41276">
            <a:spAutoFit/>
          </a:bodyPr>
          <a:lstStyle/>
          <a:p>
            <a:pPr algn="ctr" defTabSz="412712" eaLnBrk="0" hangingPunct="0">
              <a:spcBef>
                <a:spcPct val="50000"/>
              </a:spcBef>
              <a:defRPr/>
            </a:pPr>
            <a:r>
              <a:rPr lang="en-US" sz="1100" smtClean="0">
                <a:solidFill>
                  <a:srgbClr val="0099AB"/>
                </a:solidFill>
                <a:latin typeface="Neo Tech Pro" pitchFamily="34" charset="0"/>
                <a:ea typeface="ＭＳ Ｐゴシック" pitchFamily="34" charset="-128"/>
                <a:cs typeface="Arial" pitchFamily="34" charset="0"/>
              </a:rPr>
              <a:t>&gt;&gt; 0</a:t>
            </a:r>
            <a:fld id="{32B6E4E6-CAFA-4F9A-B0B3-C424BB12C6F8}" type="slidenum">
              <a:rPr lang="en-US" sz="1100" smtClean="0">
                <a:solidFill>
                  <a:srgbClr val="0099AB"/>
                </a:solidFill>
                <a:latin typeface="Neo Tech Pro" pitchFamily="34" charset="0"/>
                <a:ea typeface="ＭＳ Ｐゴシック" pitchFamily="34" charset="-128"/>
                <a:cs typeface="Arial" pitchFamily="34" charset="0"/>
              </a:rPr>
              <a:pPr algn="ctr" defTabSz="412712" eaLnBrk="0" hangingPunct="0">
                <a:spcBef>
                  <a:spcPct val="50000"/>
                </a:spcBef>
                <a:defRPr/>
              </a:pPr>
              <a:t>‹nº›</a:t>
            </a:fld>
            <a:endParaRPr lang="en-US" sz="1100" dirty="0">
              <a:solidFill>
                <a:srgbClr val="0099AB"/>
              </a:solidFill>
              <a:latin typeface="Neo Tech Pro" pitchFamily="34" charset="0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61876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_título cur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446481"/>
              </p:ext>
            </p:extLst>
          </p:nvPr>
        </p:nvGraphicFramePr>
        <p:xfrm>
          <a:off x="64" y="61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1"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" y="61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Placeholder 10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3262" y="105300"/>
            <a:ext cx="7900415" cy="22324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700">
                <a:solidFill>
                  <a:schemeClr val="tx2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8655058" y="4992334"/>
            <a:ext cx="460376" cy="155972"/>
          </a:xfrm>
          <a:prstGeom prst="rect">
            <a:avLst/>
          </a:prstGeom>
        </p:spPr>
        <p:txBody>
          <a:bodyPr lIns="82541" tIns="41276" rIns="82541" bIns="41276" anchor="ctr"/>
          <a:lstStyle>
            <a:lvl1pPr fontAlgn="auto">
              <a:spcBef>
                <a:spcPts val="0"/>
              </a:spcBef>
              <a:spcAft>
                <a:spcPts val="0"/>
              </a:spcAft>
              <a:defRPr sz="90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 defTabSz="412712">
              <a:defRPr/>
            </a:pPr>
            <a:fld id="{FA587347-BB53-4D36-9781-C9EB8571795A}" type="slidenum">
              <a:rPr lang="en-US" smtClean="0"/>
              <a:pPr defTabSz="412712">
                <a:defRPr/>
              </a:pPr>
              <a:t>‹nº›</a:t>
            </a:fld>
            <a:endParaRPr lang="en-US" dirty="0"/>
          </a:p>
        </p:txBody>
      </p:sp>
      <p:sp>
        <p:nvSpPr>
          <p:cNvPr id="7" name="Rectangle 62"/>
          <p:cNvSpPr/>
          <p:nvPr userDrawn="1">
            <p:custDataLst>
              <p:tags r:id="rId5"/>
            </p:custDataLst>
          </p:nvPr>
        </p:nvSpPr>
        <p:spPr>
          <a:xfrm>
            <a:off x="2" y="5164854"/>
            <a:ext cx="432000" cy="202500"/>
          </a:xfrm>
          <a:prstGeom prst="rect">
            <a:avLst/>
          </a:prstGeom>
          <a:solidFill>
            <a:srgbClr val="0099AB"/>
          </a:solidFill>
          <a:ln w="25400" cap="flat" cmpd="sng" algn="ctr">
            <a:noFill/>
            <a:prstDash val="solid"/>
          </a:ln>
          <a:effectLst/>
        </p:spPr>
        <p:txBody>
          <a:bodyPr lIns="70302" tIns="35150" rIns="70302" bIns="35150" rtlCol="0" anchor="ctr"/>
          <a:lstStyle/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0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53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71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8" name="Rectangle 63"/>
          <p:cNvSpPr/>
          <p:nvPr userDrawn="1">
            <p:custDataLst>
              <p:tags r:id="rId6"/>
            </p:custDataLst>
          </p:nvPr>
        </p:nvSpPr>
        <p:spPr>
          <a:xfrm>
            <a:off x="461846" y="5164854"/>
            <a:ext cx="432000" cy="202500"/>
          </a:xfrm>
          <a:prstGeom prst="rect">
            <a:avLst/>
          </a:prstGeom>
          <a:solidFill>
            <a:srgbClr val="3BC2D7"/>
          </a:solidFill>
          <a:ln w="25400" cap="flat" cmpd="sng" algn="ctr">
            <a:noFill/>
            <a:prstDash val="solid"/>
          </a:ln>
          <a:effectLst/>
        </p:spPr>
        <p:txBody>
          <a:bodyPr lIns="70302" tIns="35150" rIns="70302" bIns="35150" rtlCol="0" anchor="ctr"/>
          <a:lstStyle/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59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94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215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9" name="Rectangle 64"/>
          <p:cNvSpPr/>
          <p:nvPr userDrawn="1">
            <p:custDataLst>
              <p:tags r:id="rId7"/>
            </p:custDataLst>
          </p:nvPr>
        </p:nvSpPr>
        <p:spPr>
          <a:xfrm>
            <a:off x="1385539" y="5164854"/>
            <a:ext cx="432000" cy="202500"/>
          </a:xfrm>
          <a:prstGeom prst="rect">
            <a:avLst/>
          </a:prstGeom>
          <a:solidFill>
            <a:srgbClr val="002E48"/>
          </a:solidFill>
          <a:ln w="25400" cap="flat" cmpd="sng" algn="ctr">
            <a:noFill/>
            <a:prstDash val="solid"/>
          </a:ln>
          <a:effectLst/>
        </p:spPr>
        <p:txBody>
          <a:bodyPr lIns="70302" tIns="35150" rIns="70302" bIns="35150" rtlCol="0" anchor="ctr"/>
          <a:lstStyle/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0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46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72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11" name="Rectangle 65"/>
          <p:cNvSpPr/>
          <p:nvPr userDrawn="1">
            <p:custDataLst>
              <p:tags r:id="rId8"/>
            </p:custDataLst>
          </p:nvPr>
        </p:nvSpPr>
        <p:spPr>
          <a:xfrm>
            <a:off x="923694" y="5164854"/>
            <a:ext cx="432000" cy="202500"/>
          </a:xfrm>
          <a:prstGeom prst="rect">
            <a:avLst/>
          </a:prstGeom>
          <a:solidFill>
            <a:srgbClr val="005884"/>
          </a:solidFill>
          <a:ln w="25400" cap="flat" cmpd="sng" algn="ctr">
            <a:noFill/>
            <a:prstDash val="solid"/>
          </a:ln>
          <a:effectLst/>
        </p:spPr>
        <p:txBody>
          <a:bodyPr lIns="70302" tIns="35150" rIns="70302" bIns="35150" rtlCol="0" anchor="ctr"/>
          <a:lstStyle/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0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88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32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12" name="Rectangle 68"/>
          <p:cNvSpPr/>
          <p:nvPr userDrawn="1">
            <p:custDataLst>
              <p:tags r:id="rId9"/>
            </p:custDataLst>
          </p:nvPr>
        </p:nvSpPr>
        <p:spPr>
          <a:xfrm>
            <a:off x="3228954" y="5168687"/>
            <a:ext cx="432000" cy="202500"/>
          </a:xfrm>
          <a:prstGeom prst="rect">
            <a:avLst/>
          </a:prstGeom>
          <a:solidFill>
            <a:srgbClr val="BED600"/>
          </a:solidFill>
          <a:ln w="25400" cap="flat" cmpd="sng" algn="ctr">
            <a:noFill/>
            <a:prstDash val="solid"/>
          </a:ln>
          <a:effectLst/>
        </p:spPr>
        <p:txBody>
          <a:bodyPr lIns="70302" tIns="35150" rIns="70302" bIns="35150" rtlCol="0" anchor="ctr"/>
          <a:lstStyle/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90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214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0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13" name="Rectangle 69"/>
          <p:cNvSpPr/>
          <p:nvPr userDrawn="1">
            <p:custDataLst>
              <p:tags r:id="rId10"/>
            </p:custDataLst>
          </p:nvPr>
        </p:nvSpPr>
        <p:spPr>
          <a:xfrm>
            <a:off x="3672856" y="5164854"/>
            <a:ext cx="432000" cy="202500"/>
          </a:xfrm>
          <a:prstGeom prst="rect">
            <a:avLst/>
          </a:prstGeom>
          <a:solidFill>
            <a:srgbClr val="004165"/>
          </a:solidFill>
          <a:ln w="25400" cap="flat" cmpd="sng" algn="ctr">
            <a:noFill/>
            <a:prstDash val="solid"/>
          </a:ln>
          <a:effectLst/>
        </p:spPr>
        <p:txBody>
          <a:bodyPr lIns="70302" tIns="35150" rIns="70302" bIns="35150" rtlCol="0" anchor="ctr"/>
          <a:lstStyle/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0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65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01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14" name="Rectangle 72"/>
          <p:cNvSpPr/>
          <p:nvPr userDrawn="1">
            <p:custDataLst>
              <p:tags r:id="rId11"/>
            </p:custDataLst>
          </p:nvPr>
        </p:nvSpPr>
        <p:spPr>
          <a:xfrm>
            <a:off x="1838767" y="5168687"/>
            <a:ext cx="432000" cy="202500"/>
          </a:xfrm>
          <a:prstGeom prst="rect">
            <a:avLst/>
          </a:prstGeom>
          <a:solidFill>
            <a:srgbClr val="C7C8CA"/>
          </a:solidFill>
          <a:ln w="25400" cap="flat" cmpd="sng" algn="ctr">
            <a:noFill/>
            <a:prstDash val="solid"/>
          </a:ln>
          <a:effectLst/>
        </p:spPr>
        <p:txBody>
          <a:bodyPr lIns="70302" tIns="35150" rIns="70302" bIns="35150" rtlCol="0" anchor="ctr"/>
          <a:lstStyle/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99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200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202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15" name="Rectangle 73"/>
          <p:cNvSpPr/>
          <p:nvPr userDrawn="1">
            <p:custDataLst>
              <p:tags r:id="rId12"/>
            </p:custDataLst>
          </p:nvPr>
        </p:nvSpPr>
        <p:spPr>
          <a:xfrm>
            <a:off x="2300612" y="5168687"/>
            <a:ext cx="432000" cy="202500"/>
          </a:xfrm>
          <a:prstGeom prst="rect">
            <a:avLst/>
          </a:prstGeom>
          <a:solidFill>
            <a:srgbClr val="9D9FA2"/>
          </a:solidFill>
          <a:ln w="25400" cap="flat" cmpd="sng" algn="ctr">
            <a:noFill/>
            <a:prstDash val="solid"/>
          </a:ln>
          <a:effectLst/>
        </p:spPr>
        <p:txBody>
          <a:bodyPr lIns="70302" tIns="35150" rIns="70302" bIns="35150" rtlCol="0" anchor="ctr"/>
          <a:lstStyle/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57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59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62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16" name="Rectangle 74"/>
          <p:cNvSpPr/>
          <p:nvPr userDrawn="1">
            <p:custDataLst>
              <p:tags r:id="rId13"/>
            </p:custDataLst>
          </p:nvPr>
        </p:nvSpPr>
        <p:spPr>
          <a:xfrm>
            <a:off x="2762453" y="5168687"/>
            <a:ext cx="432000" cy="202500"/>
          </a:xfrm>
          <a:prstGeom prst="rect">
            <a:avLst/>
          </a:prstGeom>
          <a:solidFill>
            <a:srgbClr val="7A7A7D"/>
          </a:solidFill>
          <a:ln w="25400" cap="flat" cmpd="sng" algn="ctr">
            <a:noFill/>
            <a:prstDash val="solid"/>
          </a:ln>
          <a:effectLst/>
        </p:spPr>
        <p:txBody>
          <a:bodyPr lIns="70302" tIns="35150" rIns="70302" bIns="35150" rtlCol="0" anchor="ctr"/>
          <a:lstStyle/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22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22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25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17" name="Rectangle 81"/>
          <p:cNvSpPr/>
          <p:nvPr userDrawn="1">
            <p:custDataLst>
              <p:tags r:id="rId14"/>
            </p:custDataLst>
          </p:nvPr>
        </p:nvSpPr>
        <p:spPr>
          <a:xfrm>
            <a:off x="2" y="5377139"/>
            <a:ext cx="432000" cy="121500"/>
          </a:xfrm>
          <a:prstGeom prst="rect">
            <a:avLst/>
          </a:prstGeom>
          <a:solidFill>
            <a:srgbClr val="0099AB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4771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Azul PT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18" name="Rectangle 82"/>
          <p:cNvSpPr/>
          <p:nvPr userDrawn="1">
            <p:custDataLst>
              <p:tags r:id="rId15"/>
            </p:custDataLst>
          </p:nvPr>
        </p:nvSpPr>
        <p:spPr>
          <a:xfrm>
            <a:off x="461846" y="5377139"/>
            <a:ext cx="432000" cy="121500"/>
          </a:xfrm>
          <a:prstGeom prst="rect">
            <a:avLst/>
          </a:prstGeom>
          <a:solidFill>
            <a:srgbClr val="3BC2D7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4771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Azul claro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19" name="Rectangle 83"/>
          <p:cNvSpPr/>
          <p:nvPr userDrawn="1">
            <p:custDataLst>
              <p:tags r:id="rId16"/>
            </p:custDataLst>
          </p:nvPr>
        </p:nvSpPr>
        <p:spPr>
          <a:xfrm>
            <a:off x="1385539" y="5377139"/>
            <a:ext cx="432000" cy="121500"/>
          </a:xfrm>
          <a:prstGeom prst="rect">
            <a:avLst/>
          </a:prstGeom>
          <a:solidFill>
            <a:srgbClr val="002E48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4771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Azul escuro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20" name="Rectangle 84"/>
          <p:cNvSpPr/>
          <p:nvPr userDrawn="1">
            <p:custDataLst>
              <p:tags r:id="rId17"/>
            </p:custDataLst>
          </p:nvPr>
        </p:nvSpPr>
        <p:spPr>
          <a:xfrm>
            <a:off x="923694" y="5377139"/>
            <a:ext cx="432000" cy="121500"/>
          </a:xfrm>
          <a:prstGeom prst="rect">
            <a:avLst/>
          </a:prstGeom>
          <a:solidFill>
            <a:srgbClr val="005884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4771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Azul Intermédio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21" name="Rectangle 87"/>
          <p:cNvSpPr/>
          <p:nvPr userDrawn="1">
            <p:custDataLst>
              <p:tags r:id="rId18"/>
            </p:custDataLst>
          </p:nvPr>
        </p:nvSpPr>
        <p:spPr>
          <a:xfrm>
            <a:off x="3228954" y="5380943"/>
            <a:ext cx="432000" cy="121500"/>
          </a:xfrm>
          <a:prstGeom prst="rect">
            <a:avLst/>
          </a:prstGeom>
          <a:solidFill>
            <a:srgbClr val="BED600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4771">
              <a:defRPr/>
            </a:pPr>
            <a:r>
              <a:rPr lang="pt-PT" sz="500" kern="0" dirty="0" smtClean="0">
                <a:solidFill>
                  <a:sysClr val="window" lastClr="FFFFFF"/>
                </a:solidFill>
                <a:latin typeface="Myriad Pro Light" pitchFamily="34" charset="0"/>
              </a:rPr>
              <a:t>Verde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22" name="Rectangle 88"/>
          <p:cNvSpPr/>
          <p:nvPr userDrawn="1">
            <p:custDataLst>
              <p:tags r:id="rId19"/>
            </p:custDataLst>
          </p:nvPr>
        </p:nvSpPr>
        <p:spPr>
          <a:xfrm>
            <a:off x="3672856" y="5377139"/>
            <a:ext cx="432000" cy="121500"/>
          </a:xfrm>
          <a:prstGeom prst="rect">
            <a:avLst/>
          </a:prstGeom>
          <a:solidFill>
            <a:srgbClr val="004165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4771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Azul suplem</a:t>
            </a:r>
            <a:r>
              <a:rPr lang="pt-PT" sz="500" kern="0" dirty="0" smtClean="0">
                <a:solidFill>
                  <a:sysClr val="window" lastClr="FFFFFF"/>
                </a:solidFill>
                <a:latin typeface="Myriad Pro Light" pitchFamily="34" charset="0"/>
              </a:rPr>
              <a:t>.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23" name="Rectangle 91"/>
          <p:cNvSpPr/>
          <p:nvPr userDrawn="1">
            <p:custDataLst>
              <p:tags r:id="rId20"/>
            </p:custDataLst>
          </p:nvPr>
        </p:nvSpPr>
        <p:spPr>
          <a:xfrm>
            <a:off x="1838767" y="5380943"/>
            <a:ext cx="432000" cy="121500"/>
          </a:xfrm>
          <a:prstGeom prst="rect">
            <a:avLst/>
          </a:prstGeom>
          <a:solidFill>
            <a:srgbClr val="C7C8CA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4771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Cinza claro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24" name="Rectangle 92"/>
          <p:cNvSpPr/>
          <p:nvPr userDrawn="1">
            <p:custDataLst>
              <p:tags r:id="rId21"/>
            </p:custDataLst>
          </p:nvPr>
        </p:nvSpPr>
        <p:spPr>
          <a:xfrm>
            <a:off x="2300612" y="5380943"/>
            <a:ext cx="432000" cy="121500"/>
          </a:xfrm>
          <a:prstGeom prst="rect">
            <a:avLst/>
          </a:prstGeom>
          <a:solidFill>
            <a:srgbClr val="9D9FA2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4771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Cinza intermédio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25" name="Rectangle 93"/>
          <p:cNvSpPr/>
          <p:nvPr userDrawn="1">
            <p:custDataLst>
              <p:tags r:id="rId22"/>
            </p:custDataLst>
          </p:nvPr>
        </p:nvSpPr>
        <p:spPr>
          <a:xfrm>
            <a:off x="2762453" y="5380943"/>
            <a:ext cx="432000" cy="121500"/>
          </a:xfrm>
          <a:prstGeom prst="rect">
            <a:avLst/>
          </a:prstGeom>
          <a:solidFill>
            <a:srgbClr val="7A7A7D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4771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Cinza escuro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26" name="Rectangle 69"/>
          <p:cNvSpPr/>
          <p:nvPr userDrawn="1">
            <p:custDataLst>
              <p:tags r:id="rId23"/>
            </p:custDataLst>
          </p:nvPr>
        </p:nvSpPr>
        <p:spPr>
          <a:xfrm>
            <a:off x="4117347" y="5160097"/>
            <a:ext cx="432000" cy="202500"/>
          </a:xfrm>
          <a:prstGeom prst="rect">
            <a:avLst/>
          </a:prstGeom>
          <a:solidFill>
            <a:srgbClr val="7577C0"/>
          </a:solidFill>
          <a:ln w="25400" cap="flat" cmpd="sng" algn="ctr">
            <a:noFill/>
            <a:prstDash val="solid"/>
          </a:ln>
          <a:effectLst/>
        </p:spPr>
        <p:txBody>
          <a:bodyPr lIns="70302" tIns="35150" rIns="70302" bIns="35150" rtlCol="0" anchor="ctr"/>
          <a:lstStyle/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17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19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92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27" name="Rectangle 88"/>
          <p:cNvSpPr/>
          <p:nvPr userDrawn="1">
            <p:custDataLst>
              <p:tags r:id="rId24"/>
            </p:custDataLst>
          </p:nvPr>
        </p:nvSpPr>
        <p:spPr>
          <a:xfrm>
            <a:off x="4117347" y="5372357"/>
            <a:ext cx="432000" cy="121500"/>
          </a:xfrm>
          <a:prstGeom prst="rect">
            <a:avLst/>
          </a:prstGeom>
          <a:solidFill>
            <a:srgbClr val="7577C0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4771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Roxo Esc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28" name="Rectangle 69"/>
          <p:cNvSpPr/>
          <p:nvPr userDrawn="1">
            <p:custDataLst>
              <p:tags r:id="rId25"/>
            </p:custDataLst>
          </p:nvPr>
        </p:nvSpPr>
        <p:spPr>
          <a:xfrm>
            <a:off x="4568206" y="5164870"/>
            <a:ext cx="432000" cy="197738"/>
          </a:xfrm>
          <a:prstGeom prst="rect">
            <a:avLst/>
          </a:prstGeom>
          <a:solidFill>
            <a:srgbClr val="BCBDE0"/>
          </a:solidFill>
          <a:ln w="25400" cap="flat" cmpd="sng" algn="ctr">
            <a:noFill/>
            <a:prstDash val="solid"/>
          </a:ln>
          <a:effectLst/>
        </p:spPr>
        <p:txBody>
          <a:bodyPr lIns="70302" tIns="35150" rIns="70302" bIns="35150" rtlCol="0" anchor="ctr"/>
          <a:lstStyle/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88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89</a:t>
            </a:r>
          </a:p>
          <a:p>
            <a:pPr defTabSz="824771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224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29" name="Rectangle 88"/>
          <p:cNvSpPr/>
          <p:nvPr userDrawn="1">
            <p:custDataLst>
              <p:tags r:id="rId26"/>
            </p:custDataLst>
          </p:nvPr>
        </p:nvSpPr>
        <p:spPr>
          <a:xfrm>
            <a:off x="4568206" y="5377139"/>
            <a:ext cx="432000" cy="121500"/>
          </a:xfrm>
          <a:prstGeom prst="rect">
            <a:avLst/>
          </a:prstGeom>
          <a:solidFill>
            <a:srgbClr val="BCBDE0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4771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Roxo Clar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41" name="Espaço Reservado para Texto 40"/>
          <p:cNvSpPr>
            <a:spLocks noGrp="1"/>
          </p:cNvSpPr>
          <p:nvPr>
            <p:ph type="body" sz="quarter" idx="11"/>
            <p:custDataLst>
              <p:tags r:id="rId27"/>
            </p:custDataLst>
          </p:nvPr>
        </p:nvSpPr>
        <p:spPr>
          <a:xfrm>
            <a:off x="1590" y="1193"/>
            <a:ext cx="1588" cy="1191"/>
          </a:xfrm>
          <a:prstGeom prst="rect">
            <a:avLst/>
          </a:prstGeom>
        </p:spPr>
        <p:txBody>
          <a:bodyPr lIns="82541" tIns="41276" rIns="82541" bIns="41276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980232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32"/>
          <p:cNvSpPr txBox="1">
            <a:spLocks noChangeArrowheads="1"/>
          </p:cNvSpPr>
          <p:nvPr userDrawn="1"/>
        </p:nvSpPr>
        <p:spPr bwMode="auto">
          <a:xfrm>
            <a:off x="8172423" y="4881645"/>
            <a:ext cx="860476" cy="25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541" tIns="41276" rIns="82541" bIns="41276">
            <a:spAutoFit/>
          </a:bodyPr>
          <a:lstStyle/>
          <a:p>
            <a:pPr algn="ctr" defTabSz="412712" eaLnBrk="0" hangingPunct="0">
              <a:spcBef>
                <a:spcPct val="50000"/>
              </a:spcBef>
              <a:defRPr/>
            </a:pPr>
            <a:r>
              <a:rPr lang="en-US" sz="1100" smtClean="0">
                <a:solidFill>
                  <a:srgbClr val="0099AB"/>
                </a:solidFill>
                <a:latin typeface="Neo Tech Pro" pitchFamily="34" charset="0"/>
                <a:ea typeface="ＭＳ Ｐゴシック" pitchFamily="34" charset="-128"/>
                <a:cs typeface="Arial" pitchFamily="34" charset="0"/>
              </a:rPr>
              <a:t>&gt;&gt; 0</a:t>
            </a:r>
            <a:fld id="{32B6E4E6-CAFA-4F9A-B0B3-C424BB12C6F8}" type="slidenum">
              <a:rPr lang="en-US" sz="1100" smtClean="0">
                <a:solidFill>
                  <a:srgbClr val="0099AB"/>
                </a:solidFill>
                <a:latin typeface="Neo Tech Pro" pitchFamily="34" charset="0"/>
                <a:ea typeface="ＭＳ Ｐゴシック" pitchFamily="34" charset="-128"/>
                <a:cs typeface="Arial" pitchFamily="34" charset="0"/>
              </a:rPr>
              <a:pPr algn="ctr" defTabSz="412712" eaLnBrk="0" hangingPunct="0">
                <a:spcBef>
                  <a:spcPct val="50000"/>
                </a:spcBef>
                <a:defRPr/>
              </a:pPr>
              <a:t>‹nº›</a:t>
            </a:fld>
            <a:endParaRPr lang="en-US" sz="1100" dirty="0">
              <a:solidFill>
                <a:srgbClr val="0099AB"/>
              </a:solidFill>
              <a:latin typeface="Neo Tech Pro" pitchFamily="34" charset="0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1352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244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274"/>
              </a:lnSpc>
              <a:spcBef>
                <a:spcPts val="547"/>
              </a:spcBef>
              <a:defRPr lang="en-US" sz="9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5" y="2249803"/>
            <a:ext cx="3956865" cy="575468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700" baseline="0" noProof="0" smtClean="0"/>
            </a:lvl1pPr>
          </a:lstStyle>
          <a:p>
            <a:pPr lvl="0">
              <a:lnSpc>
                <a:spcPts val="1822"/>
              </a:lnSpc>
              <a:spcBef>
                <a:spcPts val="82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2" y="917955"/>
            <a:ext cx="3956865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6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2733"/>
              </a:lnSpc>
              <a:spcBef>
                <a:spcPts val="1274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1526877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22506" y="2212500"/>
            <a:ext cx="166981" cy="348934"/>
          </a:xfrm>
          <a:prstGeom prst="rect">
            <a:avLst/>
          </a:prstGeom>
          <a:noFill/>
        </p:spPr>
        <p:txBody>
          <a:bodyPr wrap="none" lIns="82541" tIns="41276" rIns="82541" bIns="41276" rtlCol="0">
            <a:spAutoFit/>
          </a:bodyPr>
          <a:lstStyle/>
          <a:p>
            <a:pPr defTabSz="412712"/>
            <a:endParaRPr lang="en-US" sz="1700" dirty="0">
              <a:solidFill>
                <a:prstClr val="black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40352" y="4876051"/>
            <a:ext cx="837456" cy="267494"/>
          </a:xfrm>
          <a:prstGeom prst="rect">
            <a:avLst/>
          </a:prstGeom>
        </p:spPr>
        <p:txBody>
          <a:bodyPr lIns="82541" tIns="41276" rIns="82541" bIns="41276"/>
          <a:lstStyle>
            <a:lvl1pPr algn="r">
              <a:lnSpc>
                <a:spcPct val="80000"/>
              </a:lnSpc>
              <a:defRPr sz="10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defTabSz="412712"/>
            <a:fld id="{34F21757-CAEC-9B46-BA5E-8BB41E742229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412712"/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62851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6424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 defTabSz="457200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200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739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 defTabSz="457200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200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077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394909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2356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74"/>
            <a:ext cx="306000" cy="122400"/>
          </a:xfrm>
          <a:prstGeom prst="rect">
            <a:avLst/>
          </a:prstGeom>
          <a:noFill/>
        </p:spPr>
        <p:txBody>
          <a:bodyPr lIns="68445" tIns="34247" rIns="68445" bIns="34247"/>
          <a:lstStyle/>
          <a:p>
            <a:pPr algn="ctr" defTabSz="456227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6227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474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91324" tIns="45662" rIns="91324" bIns="45662"/>
          <a:lstStyle/>
          <a:p>
            <a:pPr algn="ctr" defTabSz="456506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6506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424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91324" tIns="45662" rIns="91324" bIns="45662"/>
          <a:lstStyle/>
          <a:p>
            <a:pPr algn="ctr" defTabSz="456506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6506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122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5429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 defTabSz="914400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914400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332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 defTabSz="914400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914400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868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914400"/>
            <a:fld id="{B8DDAB74-211A-435F-A620-CEA7292BE3F8}" type="datetimeFigureOut">
              <a:rPr lang="pt-BR" smtClean="0">
                <a:solidFill>
                  <a:prstClr val="black"/>
                </a:solidFill>
              </a:rPr>
              <a:pPr defTabSz="914400"/>
              <a:t>07/08/2017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914400"/>
            <a:fld id="{6DCF64D1-12D7-4969-ADF6-A6C86AF9196C}" type="slidenum">
              <a:rPr lang="pt-BR" smtClean="0">
                <a:solidFill>
                  <a:prstClr val="black"/>
                </a:solidFill>
              </a:rPr>
              <a:pPr defTabSz="914400"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16053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DB1A-104F-413A-8103-254A073E9BA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7/08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5018A-4304-44FD-8F7E-95B26375A59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996053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DB1A-104F-413A-8103-254A073E9BA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7/08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5018A-4304-44FD-8F7E-95B26375A59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28481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7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7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DB1A-104F-413A-8103-254A073E9BA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7/08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5018A-4304-44FD-8F7E-95B26375A59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75764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DB1A-104F-413A-8103-254A073E9BA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7/08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5018A-4304-44FD-8F7E-95B26375A59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076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0286194"/>
      </p:ext>
    </p:extLst>
  </p:cSld>
  <p:clrMapOvr>
    <a:masterClrMapping/>
  </p:clrMapOvr>
  <p:transition advClick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DB1A-104F-413A-8103-254A073E9BA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7/08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5018A-4304-44FD-8F7E-95B26375A59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17483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DB1A-104F-413A-8103-254A073E9BA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7/08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5018A-4304-44FD-8F7E-95B26375A59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26104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DB1A-104F-413A-8103-254A073E9BA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7/08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5018A-4304-44FD-8F7E-95B26375A59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283653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DB1A-104F-413A-8103-254A073E9BA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7/08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5018A-4304-44FD-8F7E-95B26375A59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764816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DB1A-104F-413A-8103-254A073E9BA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7/08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5018A-4304-44FD-8F7E-95B26375A59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64085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DB1A-104F-413A-8103-254A073E9BA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7/08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5018A-4304-44FD-8F7E-95B26375A59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44241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273843"/>
            <a:ext cx="1971675" cy="4358879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273843"/>
            <a:ext cx="5800725" cy="4358879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9DB1A-104F-413A-8103-254A073E9BA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7/08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05018A-4304-44FD-8F7E-95B26375A59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40394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260412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1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6544" y="4999500"/>
            <a:ext cx="837456" cy="144000"/>
          </a:xfrm>
          <a:prstGeom prst="rect">
            <a:avLst/>
          </a:prstGeom>
        </p:spPr>
        <p:txBody>
          <a:bodyPr lIns="0" tIns="0" rIns="71993" bIns="0" anchor="ctr" anchorCtr="0"/>
          <a:lstStyle>
            <a:lvl1pPr algn="r">
              <a:lnSpc>
                <a:spcPct val="80000"/>
              </a:lnSpc>
              <a:defRPr sz="800">
                <a:solidFill>
                  <a:schemeClr val="accent2"/>
                </a:solidFill>
                <a:latin typeface="Simplon Oi Headline" pitchFamily="50" charset="0"/>
                <a:cs typeface="Arial"/>
              </a:defRPr>
            </a:lvl1pPr>
          </a:lstStyle>
          <a:p>
            <a:fld id="{34F21757-CAEC-9B46-BA5E-8BB41E742229}" type="slidenum">
              <a:rPr lang="en-US" smtClean="0">
                <a:solidFill>
                  <a:srgbClr val="ED7D31"/>
                </a:solidFill>
              </a:rPr>
              <a:pPr/>
              <a:t>‹nº›</a:t>
            </a:fld>
            <a:endParaRPr lang="en-US" dirty="0">
              <a:solidFill>
                <a:srgbClr val="ED7D31"/>
              </a:solidFill>
            </a:endParaRPr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177800" y="187101"/>
            <a:ext cx="7994600" cy="4320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000" b="0">
                <a:solidFill>
                  <a:schemeClr val="accent1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  <p:pic>
        <p:nvPicPr>
          <p:cNvPr id="9" name="Picture 33" descr="D:\OI 2014\1. JASON\Oi_Logos\Oi_mass_logo_1_1c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577" y="180998"/>
            <a:ext cx="360000" cy="386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7343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7278333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5825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514" y="176178"/>
            <a:ext cx="827576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782673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83645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392152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595501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458288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99302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329923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9040253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37059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84187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770771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68445" tIns="34247" rIns="68445" bIns="34247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60"/>
            <a:ext cx="8229600" cy="3394472"/>
          </a:xfrm>
          <a:prstGeom prst="rect">
            <a:avLst/>
          </a:prstGeom>
        </p:spPr>
        <p:txBody>
          <a:bodyPr lIns="68445" tIns="34247" rIns="68445" bIns="34247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68445" tIns="34247" rIns="68445" bIns="34247"/>
          <a:lstStyle/>
          <a:p>
            <a:pPr defTabSz="684383"/>
            <a:fld id="{BC711CD1-8DA5-4522-99DE-CB20BD536A20}" type="datetimeFigureOut">
              <a:rPr lang="pt-BR" sz="1400" smtClean="0">
                <a:solidFill>
                  <a:prstClr val="black">
                    <a:tint val="75000"/>
                  </a:prstClr>
                </a:solidFill>
              </a:rPr>
              <a:pPr defTabSz="684383"/>
              <a:t>07/08/2017</a:t>
            </a:fld>
            <a:endParaRPr lang="pt-BR" sz="14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1" y="4767264"/>
            <a:ext cx="2895600" cy="273844"/>
          </a:xfrm>
          <a:prstGeom prst="rect">
            <a:avLst/>
          </a:prstGeom>
        </p:spPr>
        <p:txBody>
          <a:bodyPr lIns="68445" tIns="34247" rIns="68445" bIns="34247"/>
          <a:lstStyle/>
          <a:p>
            <a:pPr defTabSz="684383"/>
            <a:endParaRPr lang="pt-BR" sz="14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68445" tIns="34247" rIns="68445" bIns="34247"/>
          <a:lstStyle/>
          <a:p>
            <a:pPr defTabSz="684383"/>
            <a:fld id="{8C8B1907-7AD0-4D68-A9DB-7096FA7D71F8}" type="slidenum">
              <a:rPr lang="pt-BR" sz="1400" smtClean="0">
                <a:solidFill>
                  <a:prstClr val="black">
                    <a:tint val="75000"/>
                  </a:prstClr>
                </a:solidFill>
              </a:rPr>
              <a:pPr defTabSz="684383"/>
              <a:t>‹nº›</a:t>
            </a:fld>
            <a:endParaRPr lang="pt-BR" sz="140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89168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8113790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75130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198313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39261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44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 defTabSz="685800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685800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532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 defTabSz="685800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685800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047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85800"/>
            <a:fld id="{B8DDAB74-211A-435F-A620-CEA7292BE3F8}" type="datetimeFigureOut">
              <a:rPr lang="pt-BR" smtClean="0">
                <a:solidFill>
                  <a:prstClr val="black"/>
                </a:solidFill>
              </a:rPr>
              <a:pPr defTabSz="685800"/>
              <a:t>07/08/2017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85800"/>
            <a:endParaRPr lang="pt-BR">
              <a:solidFill>
                <a:prstClr val="black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85800"/>
            <a:fld id="{6DCF64D1-12D7-4969-ADF6-A6C86AF9196C}" type="slidenum">
              <a:rPr lang="pt-BR" smtClean="0">
                <a:solidFill>
                  <a:prstClr val="black"/>
                </a:solidFill>
              </a:rPr>
              <a:pPr defTabSz="685800"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98947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2914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68564" tIns="34283" rIns="68564" bIns="34283"/>
          <a:lstStyle/>
          <a:p>
            <a:pPr algn="ctr" defTabSz="457058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7058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879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 userDrawn="1"/>
        </p:nvSpPr>
        <p:spPr>
          <a:xfrm>
            <a:off x="8468149" y="4840357"/>
            <a:ext cx="566531" cy="1789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630">
              <a:lnSpc>
                <a:spcPts val="1350"/>
              </a:lnSpc>
              <a:spcBef>
                <a:spcPts val="600"/>
              </a:spcBef>
            </a:pPr>
            <a:endParaRPr lang="pt-BR" sz="1200" i="1" dirty="0" smtClean="0">
              <a:solidFill>
                <a:prstClr val="black"/>
              </a:solidFill>
            </a:endParaRPr>
          </a:p>
        </p:txBody>
      </p:sp>
      <p:sp>
        <p:nvSpPr>
          <p:cNvPr id="4" name="CaixaDeTexto 3"/>
          <p:cNvSpPr txBox="1"/>
          <p:nvPr userDrawn="1"/>
        </p:nvSpPr>
        <p:spPr>
          <a:xfrm>
            <a:off x="8552311" y="4929818"/>
            <a:ext cx="398207" cy="1625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630">
              <a:lnSpc>
                <a:spcPts val="1350"/>
              </a:lnSpc>
              <a:spcBef>
                <a:spcPts val="600"/>
              </a:spcBef>
            </a:pPr>
            <a:fld id="{D4D58D87-8487-4709-9825-59DEF4D6437F}" type="slidenum">
              <a:rPr lang="pt-BR" sz="900" i="1" smtClean="0">
                <a:solidFill>
                  <a:prstClr val="black"/>
                </a:solidFill>
              </a:rPr>
              <a:pPr defTabSz="685630">
                <a:lnSpc>
                  <a:spcPts val="1350"/>
                </a:lnSpc>
                <a:spcBef>
                  <a:spcPts val="600"/>
                </a:spcBef>
              </a:pPr>
              <a:t>‹nº›</a:t>
            </a:fld>
            <a:endParaRPr lang="pt-BR" sz="900" i="1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379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68564" tIns="34283" rIns="68564" bIns="34283"/>
          <a:lstStyle/>
          <a:p>
            <a:pPr algn="ctr" defTabSz="457058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7058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813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 bwMode="auto">
          <a:xfrm>
            <a:off x="8828795" y="4932665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4" tIns="34289" rIns="68564" bIns="34289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11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11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CaixaDeTexto 16"/>
          <p:cNvSpPr txBox="1"/>
          <p:nvPr userDrawn="1"/>
        </p:nvSpPr>
        <p:spPr>
          <a:xfrm>
            <a:off x="272955" y="322263"/>
            <a:ext cx="253848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046">
              <a:lnSpc>
                <a:spcPts val="1800"/>
              </a:lnSpc>
              <a:spcBef>
                <a:spcPts val="800"/>
              </a:spcBef>
            </a:pPr>
            <a:endParaRPr lang="pt-BR" sz="2000" i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 hasCustomPrompt="1"/>
            <p:custDataLst>
              <p:tags r:id="rId1"/>
            </p:custDataLst>
          </p:nvPr>
        </p:nvSpPr>
        <p:spPr bwMode="auto">
          <a:xfrm>
            <a:off x="177696" y="26314"/>
            <a:ext cx="8267700" cy="28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3821" tIns="21917" rIns="43821" bIns="21917" numCol="1" anchor="ctr" anchorCtr="0" compatLnSpc="1">
            <a:prstTxWarp prst="textNoShape">
              <a:avLst/>
            </a:prstTxWarp>
          </a:bodyPr>
          <a:lstStyle>
            <a:lvl1pPr algn="l" defTabSz="793458" rtl="0" fontAlgn="base">
              <a:spcBef>
                <a:spcPct val="0"/>
              </a:spcBef>
              <a:spcAft>
                <a:spcPct val="0"/>
              </a:spcAft>
              <a:defRPr lang="pt-BR" sz="1300" b="1" i="0" kern="120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9" name="Espaço Reservado para Texto 9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77696" y="292920"/>
            <a:ext cx="8212962" cy="230832"/>
          </a:xfrm>
          <a:prstGeom prst="rect">
            <a:avLst/>
          </a:prstGeom>
        </p:spPr>
        <p:txBody>
          <a:bodyPr lIns="51424" tIns="25715" rIns="51424" bIns="25715"/>
          <a:lstStyle>
            <a:lvl1pPr marL="0" indent="0">
              <a:buNone/>
              <a:defRPr lang="pt-BR" sz="1500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353" indent="0">
              <a:buNone/>
              <a:defRPr/>
            </a:lvl2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pic>
        <p:nvPicPr>
          <p:cNvPr id="21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639" y="4124"/>
            <a:ext cx="696769" cy="49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4144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7087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0788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68564" tIns="34283" rIns="68564" bIns="34283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lIns="68564" tIns="34283" rIns="68564" bIns="34283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68564" tIns="34283" rIns="68564" bIns="34283"/>
          <a:lstStyle/>
          <a:p>
            <a:pPr defTabSz="685596"/>
            <a:fld id="{18D69630-9F0C-428C-9520-D4062C345707}" type="datetimeFigureOut">
              <a:rPr lang="pt-BR" sz="1400" smtClean="0">
                <a:solidFill>
                  <a:prstClr val="black"/>
                </a:solidFill>
              </a:rPr>
              <a:pPr defTabSz="685596"/>
              <a:t>07/08/2017</a:t>
            </a:fld>
            <a:endParaRPr lang="pt-BR" sz="1400">
              <a:solidFill>
                <a:prstClr val="black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68564" tIns="34283" rIns="68564" bIns="34283"/>
          <a:lstStyle/>
          <a:p>
            <a:pPr defTabSz="685596"/>
            <a:endParaRPr lang="pt-BR" sz="1400">
              <a:solidFill>
                <a:prstClr val="black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68564" tIns="34283" rIns="68564" bIns="34283"/>
          <a:lstStyle/>
          <a:p>
            <a:pPr defTabSz="685596"/>
            <a:fld id="{CBCBB3E3-89EF-4BEB-9722-609BA5B45A0F}" type="slidenum">
              <a:rPr lang="pt-BR" sz="1400" smtClean="0">
                <a:solidFill>
                  <a:prstClr val="black"/>
                </a:solidFill>
              </a:rPr>
              <a:pPr defTabSz="685596"/>
              <a:t>‹nº›</a:t>
            </a:fld>
            <a:endParaRPr lang="pt-BR" sz="1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4800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91404" tIns="45702" rIns="91404" bIns="45702"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68565" tIns="34289" rIns="68565" bIns="34289"/>
          <a:lstStyle/>
          <a:p>
            <a:pPr algn="ctr" defTabSz="457070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7070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663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68565" tIns="34289" rIns="68565" bIns="34289"/>
          <a:lstStyle/>
          <a:p>
            <a:pPr algn="ctr" defTabSz="457070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7070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461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2141961"/>
      </p:ext>
    </p:extLst>
  </p:cSld>
  <p:clrMapOvr>
    <a:masterClrMapping/>
  </p:clrMapOvr>
  <p:transition advClick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9" y="176156"/>
            <a:ext cx="827576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92955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2999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91420" tIns="45710" rIns="91420" bIns="45710"/>
          <a:lstStyle/>
          <a:p>
            <a:pPr algn="ctr" defTabSz="457082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082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066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91420" tIns="45710" rIns="91420" bIns="45710"/>
          <a:lstStyle/>
          <a:p>
            <a:pPr algn="ctr" defTabSz="457082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082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453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1319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91420" tIns="45710" rIns="91420" bIns="45710"/>
          <a:lstStyle/>
          <a:p>
            <a:pPr algn="ctr" defTabSz="457082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082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0193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91420" tIns="45710" rIns="91420" bIns="45710"/>
          <a:lstStyle/>
          <a:p>
            <a:pPr algn="ctr" defTabSz="457082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082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074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91404" tIns="45702" rIns="91404" bIns="45702"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 userDrawn="1"/>
        </p:nvSpPr>
        <p:spPr>
          <a:xfrm>
            <a:off x="8468163" y="4840357"/>
            <a:ext cx="566531" cy="1789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4519">
              <a:lnSpc>
                <a:spcPts val="1350"/>
              </a:lnSpc>
              <a:spcBef>
                <a:spcPts val="600"/>
              </a:spcBef>
            </a:pPr>
            <a:endParaRPr lang="pt-BR" sz="1200" i="1" dirty="0" smtClean="0">
              <a:solidFill>
                <a:prstClr val="black"/>
              </a:solidFill>
            </a:endParaRPr>
          </a:p>
        </p:txBody>
      </p:sp>
      <p:sp>
        <p:nvSpPr>
          <p:cNvPr id="4" name="CaixaDeTexto 3"/>
          <p:cNvSpPr txBox="1"/>
          <p:nvPr userDrawn="1"/>
        </p:nvSpPr>
        <p:spPr>
          <a:xfrm>
            <a:off x="8552335" y="4929839"/>
            <a:ext cx="398207" cy="1625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4519">
              <a:lnSpc>
                <a:spcPts val="1350"/>
              </a:lnSpc>
              <a:spcBef>
                <a:spcPts val="600"/>
              </a:spcBef>
            </a:pPr>
            <a:fld id="{D4D58D87-8487-4709-9825-59DEF4D6437F}" type="slidenum">
              <a:rPr lang="pt-BR" sz="900" i="1" smtClean="0">
                <a:solidFill>
                  <a:prstClr val="black"/>
                </a:solidFill>
              </a:rPr>
              <a:pPr defTabSz="684519">
                <a:lnSpc>
                  <a:spcPts val="1350"/>
                </a:lnSpc>
                <a:spcBef>
                  <a:spcPts val="600"/>
                </a:spcBef>
              </a:pPr>
              <a:t>‹nº›</a:t>
            </a:fld>
            <a:endParaRPr lang="pt-BR" sz="900" i="1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979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74"/>
            <a:ext cx="306000" cy="122400"/>
          </a:xfrm>
          <a:prstGeom prst="rect">
            <a:avLst/>
          </a:prstGeom>
        </p:spPr>
        <p:txBody>
          <a:bodyPr lIns="68457" tIns="34247" rIns="68457" bIns="34247"/>
          <a:lstStyle/>
          <a:p>
            <a:pPr algn="ctr" defTabSz="456323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6323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905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74"/>
            <a:ext cx="306000" cy="122400"/>
          </a:xfrm>
          <a:prstGeom prst="rect">
            <a:avLst/>
          </a:prstGeom>
          <a:noFill/>
        </p:spPr>
        <p:txBody>
          <a:bodyPr lIns="68457" tIns="34247" rIns="68457" bIns="34247"/>
          <a:lstStyle/>
          <a:p>
            <a:pPr algn="ctr" defTabSz="456323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6323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687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7050064"/>
      </p:ext>
    </p:extLst>
  </p:cSld>
  <p:clrMapOvr>
    <a:masterClrMapping/>
  </p:clrMapOvr>
  <p:transition advClick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514" y="176168"/>
            <a:ext cx="827576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17550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68457" tIns="34247" rIns="68457" bIns="34247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60"/>
            <a:ext cx="8229600" cy="3394472"/>
          </a:xfrm>
          <a:prstGeom prst="rect">
            <a:avLst/>
          </a:prstGeom>
        </p:spPr>
        <p:txBody>
          <a:bodyPr lIns="68457" tIns="34247" rIns="68457" bIns="34247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68457" tIns="34247" rIns="68457" bIns="34247"/>
          <a:lstStyle/>
          <a:p>
            <a:pPr defTabSz="684519"/>
            <a:fld id="{BC711CD1-8DA5-4522-99DE-CB20BD536A20}" type="datetimeFigureOut">
              <a:rPr lang="pt-BR" sz="1400" smtClean="0">
                <a:solidFill>
                  <a:prstClr val="black">
                    <a:tint val="75000"/>
                  </a:prstClr>
                </a:solidFill>
              </a:rPr>
              <a:pPr defTabSz="684519"/>
              <a:t>07/08/2017</a:t>
            </a:fld>
            <a:endParaRPr lang="pt-BR" sz="14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1" y="4767264"/>
            <a:ext cx="2895600" cy="273844"/>
          </a:xfrm>
          <a:prstGeom prst="rect">
            <a:avLst/>
          </a:prstGeom>
        </p:spPr>
        <p:txBody>
          <a:bodyPr lIns="68457" tIns="34247" rIns="68457" bIns="34247"/>
          <a:lstStyle/>
          <a:p>
            <a:pPr defTabSz="684519"/>
            <a:endParaRPr lang="pt-BR" sz="14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68457" tIns="34247" rIns="68457" bIns="34247"/>
          <a:lstStyle/>
          <a:p>
            <a:pPr defTabSz="684519"/>
            <a:fld id="{8C8B1907-7AD0-4D68-A9DB-7096FA7D71F8}" type="slidenum">
              <a:rPr lang="pt-BR" sz="1400" smtClean="0">
                <a:solidFill>
                  <a:prstClr val="black">
                    <a:tint val="75000"/>
                  </a:prstClr>
                </a:solidFill>
              </a:rPr>
              <a:pPr defTabSz="684519"/>
              <a:t>‹nº›</a:t>
            </a:fld>
            <a:endParaRPr lang="pt-BR" sz="140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0279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15130" y="1635646"/>
            <a:ext cx="5001344" cy="857250"/>
          </a:xfrm>
          <a:prstGeom prst="rect">
            <a:avLst/>
          </a:prstGeom>
        </p:spPr>
        <p:txBody>
          <a:bodyPr vert="horz" lIns="82649" tIns="41330" rIns="82649" bIns="41330" rtlCol="0" anchor="t">
            <a:noAutofit/>
          </a:bodyPr>
          <a:lstStyle>
            <a:lvl1pPr>
              <a:defRPr sz="3500" b="1"/>
            </a:lvl1pPr>
          </a:lstStyle>
          <a:p>
            <a:r>
              <a:rPr lang="x-none" dirty="0" smtClean="0"/>
              <a:t>Título com letra Arial</a:t>
            </a:r>
            <a:br>
              <a:rPr lang="x-none" dirty="0" smtClean="0"/>
            </a:br>
            <a:r>
              <a:rPr lang="x-none" dirty="0" smtClean="0"/>
              <a:t>Bold tamanho 38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347472" y="2860154"/>
            <a:ext cx="4968875" cy="647700"/>
          </a:xfrm>
          <a:prstGeom prst="rect">
            <a:avLst/>
          </a:prstGeom>
        </p:spPr>
        <p:txBody>
          <a:bodyPr vert="horz" lIns="82649" tIns="41330" rIns="82649" bIns="41330"/>
          <a:lstStyle>
            <a:lvl1pPr>
              <a:defRPr baseline="0"/>
            </a:lvl1pPr>
          </a:lstStyle>
          <a:p>
            <a:pPr lvl="0"/>
            <a:r>
              <a:rPr lang="x-none" dirty="0" smtClean="0"/>
              <a:t>Referência (Dpto, cidade, etc.) | Ano</a:t>
            </a:r>
          </a:p>
          <a:p>
            <a:pPr lvl="0"/>
            <a:r>
              <a:rPr lang="x-none" dirty="0" smtClean="0"/>
              <a:t>Usar letra Arial tamanho 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0852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32"/>
          <p:cNvSpPr txBox="1">
            <a:spLocks noChangeArrowheads="1"/>
          </p:cNvSpPr>
          <p:nvPr userDrawn="1"/>
        </p:nvSpPr>
        <p:spPr bwMode="auto">
          <a:xfrm>
            <a:off x="8172423" y="4881591"/>
            <a:ext cx="860476" cy="25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649" tIns="41330" rIns="82649" bIns="41330">
            <a:spAutoFit/>
          </a:bodyPr>
          <a:lstStyle/>
          <a:p>
            <a:pPr algn="ctr" defTabSz="413252" eaLnBrk="0" hangingPunct="0">
              <a:spcBef>
                <a:spcPct val="50000"/>
              </a:spcBef>
              <a:defRPr/>
            </a:pPr>
            <a:r>
              <a:rPr lang="en-US" sz="1100" smtClean="0">
                <a:solidFill>
                  <a:srgbClr val="0099AB"/>
                </a:solidFill>
                <a:latin typeface="Neo Tech Pro" pitchFamily="34" charset="0"/>
                <a:ea typeface="ＭＳ Ｐゴシック" pitchFamily="34" charset="-128"/>
                <a:cs typeface="Arial" pitchFamily="34" charset="0"/>
              </a:rPr>
              <a:t>&gt;&gt; 0</a:t>
            </a:r>
            <a:fld id="{32B6E4E6-CAFA-4F9A-B0B3-C424BB12C6F8}" type="slidenum">
              <a:rPr lang="en-US" sz="1100" smtClean="0">
                <a:solidFill>
                  <a:srgbClr val="0099AB"/>
                </a:solidFill>
                <a:latin typeface="Neo Tech Pro" pitchFamily="34" charset="0"/>
                <a:ea typeface="ＭＳ Ｐゴシック" pitchFamily="34" charset="-128"/>
                <a:cs typeface="Arial" pitchFamily="34" charset="0"/>
              </a:rPr>
              <a:pPr algn="ctr" defTabSz="413252" eaLnBrk="0" hangingPunct="0">
                <a:spcBef>
                  <a:spcPct val="50000"/>
                </a:spcBef>
                <a:defRPr/>
              </a:pPr>
              <a:t>‹nº›</a:t>
            </a:fld>
            <a:endParaRPr lang="en-US" sz="1100" dirty="0">
              <a:solidFill>
                <a:srgbClr val="0099AB"/>
              </a:solidFill>
              <a:latin typeface="Neo Tech Pro" pitchFamily="34" charset="0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18607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22452" y="2212500"/>
            <a:ext cx="166981" cy="348934"/>
          </a:xfrm>
          <a:prstGeom prst="rect">
            <a:avLst/>
          </a:prstGeom>
          <a:noFill/>
        </p:spPr>
        <p:txBody>
          <a:bodyPr wrap="none" lIns="82649" tIns="41330" rIns="82649" bIns="41330" rtlCol="0">
            <a:spAutoFit/>
          </a:bodyPr>
          <a:lstStyle/>
          <a:p>
            <a:pPr defTabSz="413252"/>
            <a:endParaRPr lang="en-US" sz="1700" dirty="0">
              <a:solidFill>
                <a:prstClr val="black"/>
              </a:solidFill>
            </a:endParaRPr>
          </a:p>
        </p:txBody>
      </p:sp>
      <p:sp>
        <p:nvSpPr>
          <p:cNvPr id="4" name="Text Box 32"/>
          <p:cNvSpPr txBox="1">
            <a:spLocks noChangeArrowheads="1"/>
          </p:cNvSpPr>
          <p:nvPr userDrawn="1"/>
        </p:nvSpPr>
        <p:spPr bwMode="auto">
          <a:xfrm>
            <a:off x="8172423" y="4881591"/>
            <a:ext cx="860476" cy="25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649" tIns="41330" rIns="82649" bIns="41330">
            <a:spAutoFit/>
          </a:bodyPr>
          <a:lstStyle/>
          <a:p>
            <a:pPr algn="ctr" defTabSz="413252" eaLnBrk="0" hangingPunct="0">
              <a:spcBef>
                <a:spcPct val="50000"/>
              </a:spcBef>
              <a:defRPr/>
            </a:pPr>
            <a:r>
              <a:rPr lang="en-US" sz="1100" smtClean="0">
                <a:solidFill>
                  <a:srgbClr val="0099AB"/>
                </a:solidFill>
                <a:latin typeface="Neo Tech Pro" pitchFamily="34" charset="0"/>
                <a:ea typeface="ＭＳ Ｐゴシック" pitchFamily="34" charset="-128"/>
                <a:cs typeface="Arial" pitchFamily="34" charset="0"/>
              </a:rPr>
              <a:t>&gt;&gt; 0</a:t>
            </a:r>
            <a:fld id="{32B6E4E6-CAFA-4F9A-B0B3-C424BB12C6F8}" type="slidenum">
              <a:rPr lang="en-US" sz="1100" smtClean="0">
                <a:solidFill>
                  <a:srgbClr val="0099AB"/>
                </a:solidFill>
                <a:latin typeface="Neo Tech Pro" pitchFamily="34" charset="0"/>
                <a:ea typeface="ＭＳ Ｐゴシック" pitchFamily="34" charset="-128"/>
                <a:cs typeface="Arial" pitchFamily="34" charset="0"/>
              </a:rPr>
              <a:pPr algn="ctr" defTabSz="413252" eaLnBrk="0" hangingPunct="0">
                <a:spcBef>
                  <a:spcPct val="50000"/>
                </a:spcBef>
                <a:defRPr/>
              </a:pPr>
              <a:t>‹nº›</a:t>
            </a:fld>
            <a:endParaRPr lang="en-US" sz="1100" dirty="0">
              <a:solidFill>
                <a:srgbClr val="0099AB"/>
              </a:solidFill>
              <a:latin typeface="Neo Tech Pro" pitchFamily="34" charset="0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12407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_título cur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1640480"/>
              </p:ext>
            </p:extLst>
          </p:nvPr>
        </p:nvGraphicFramePr>
        <p:xfrm>
          <a:off x="64" y="7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32"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" y="7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Placeholder 10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3206" y="105300"/>
            <a:ext cx="7900415" cy="22324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700">
                <a:solidFill>
                  <a:schemeClr val="tx2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8655058" y="4992334"/>
            <a:ext cx="460376" cy="155972"/>
          </a:xfrm>
          <a:prstGeom prst="rect">
            <a:avLst/>
          </a:prstGeom>
        </p:spPr>
        <p:txBody>
          <a:bodyPr lIns="82649" tIns="41330" rIns="82649" bIns="41330" anchor="ctr"/>
          <a:lstStyle>
            <a:lvl1pPr fontAlgn="auto">
              <a:spcBef>
                <a:spcPts val="0"/>
              </a:spcBef>
              <a:spcAft>
                <a:spcPts val="0"/>
              </a:spcAft>
              <a:defRPr sz="90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 defTabSz="413252">
              <a:defRPr/>
            </a:pPr>
            <a:fld id="{FA587347-BB53-4D36-9781-C9EB8571795A}" type="slidenum">
              <a:rPr lang="en-US" smtClean="0"/>
              <a:pPr defTabSz="413252">
                <a:defRPr/>
              </a:pPr>
              <a:t>‹nº›</a:t>
            </a:fld>
            <a:endParaRPr lang="en-US" dirty="0"/>
          </a:p>
        </p:txBody>
      </p:sp>
      <p:sp>
        <p:nvSpPr>
          <p:cNvPr id="7" name="Rectangle 62"/>
          <p:cNvSpPr/>
          <p:nvPr userDrawn="1">
            <p:custDataLst>
              <p:tags r:id="rId5"/>
            </p:custDataLst>
          </p:nvPr>
        </p:nvSpPr>
        <p:spPr>
          <a:xfrm>
            <a:off x="2" y="5164854"/>
            <a:ext cx="432000" cy="202500"/>
          </a:xfrm>
          <a:prstGeom prst="rect">
            <a:avLst/>
          </a:prstGeom>
          <a:solidFill>
            <a:srgbClr val="0099AB"/>
          </a:solidFill>
          <a:ln w="25400" cap="flat" cmpd="sng" algn="ctr">
            <a:noFill/>
            <a:prstDash val="solid"/>
          </a:ln>
          <a:effectLst/>
        </p:spPr>
        <p:txBody>
          <a:bodyPr lIns="70383" tIns="35204" rIns="70383" bIns="35204" rtlCol="0" anchor="ctr"/>
          <a:lstStyle/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0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53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71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8" name="Rectangle 63"/>
          <p:cNvSpPr/>
          <p:nvPr userDrawn="1">
            <p:custDataLst>
              <p:tags r:id="rId6"/>
            </p:custDataLst>
          </p:nvPr>
        </p:nvSpPr>
        <p:spPr>
          <a:xfrm>
            <a:off x="461846" y="5164854"/>
            <a:ext cx="432000" cy="202500"/>
          </a:xfrm>
          <a:prstGeom prst="rect">
            <a:avLst/>
          </a:prstGeom>
          <a:solidFill>
            <a:srgbClr val="3BC2D7"/>
          </a:solidFill>
          <a:ln w="25400" cap="flat" cmpd="sng" algn="ctr">
            <a:noFill/>
            <a:prstDash val="solid"/>
          </a:ln>
          <a:effectLst/>
        </p:spPr>
        <p:txBody>
          <a:bodyPr lIns="70383" tIns="35204" rIns="70383" bIns="35204" rtlCol="0" anchor="ctr"/>
          <a:lstStyle/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59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94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215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9" name="Rectangle 64"/>
          <p:cNvSpPr/>
          <p:nvPr userDrawn="1">
            <p:custDataLst>
              <p:tags r:id="rId7"/>
            </p:custDataLst>
          </p:nvPr>
        </p:nvSpPr>
        <p:spPr>
          <a:xfrm>
            <a:off x="1385539" y="5164854"/>
            <a:ext cx="432000" cy="202500"/>
          </a:xfrm>
          <a:prstGeom prst="rect">
            <a:avLst/>
          </a:prstGeom>
          <a:solidFill>
            <a:srgbClr val="002E48"/>
          </a:solidFill>
          <a:ln w="25400" cap="flat" cmpd="sng" algn="ctr">
            <a:noFill/>
            <a:prstDash val="solid"/>
          </a:ln>
          <a:effectLst/>
        </p:spPr>
        <p:txBody>
          <a:bodyPr lIns="70383" tIns="35204" rIns="70383" bIns="35204" rtlCol="0" anchor="ctr"/>
          <a:lstStyle/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0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46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72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11" name="Rectangle 65"/>
          <p:cNvSpPr/>
          <p:nvPr userDrawn="1">
            <p:custDataLst>
              <p:tags r:id="rId8"/>
            </p:custDataLst>
          </p:nvPr>
        </p:nvSpPr>
        <p:spPr>
          <a:xfrm>
            <a:off x="923694" y="5164854"/>
            <a:ext cx="432000" cy="202500"/>
          </a:xfrm>
          <a:prstGeom prst="rect">
            <a:avLst/>
          </a:prstGeom>
          <a:solidFill>
            <a:srgbClr val="005884"/>
          </a:solidFill>
          <a:ln w="25400" cap="flat" cmpd="sng" algn="ctr">
            <a:noFill/>
            <a:prstDash val="solid"/>
          </a:ln>
          <a:effectLst/>
        </p:spPr>
        <p:txBody>
          <a:bodyPr lIns="70383" tIns="35204" rIns="70383" bIns="35204" rtlCol="0" anchor="ctr"/>
          <a:lstStyle/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0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88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32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12" name="Rectangle 68"/>
          <p:cNvSpPr/>
          <p:nvPr userDrawn="1">
            <p:custDataLst>
              <p:tags r:id="rId9"/>
            </p:custDataLst>
          </p:nvPr>
        </p:nvSpPr>
        <p:spPr>
          <a:xfrm>
            <a:off x="3228954" y="5168687"/>
            <a:ext cx="432000" cy="202500"/>
          </a:xfrm>
          <a:prstGeom prst="rect">
            <a:avLst/>
          </a:prstGeom>
          <a:solidFill>
            <a:srgbClr val="BED600"/>
          </a:solidFill>
          <a:ln w="25400" cap="flat" cmpd="sng" algn="ctr">
            <a:noFill/>
            <a:prstDash val="solid"/>
          </a:ln>
          <a:effectLst/>
        </p:spPr>
        <p:txBody>
          <a:bodyPr lIns="70383" tIns="35204" rIns="70383" bIns="35204" rtlCol="0" anchor="ctr"/>
          <a:lstStyle/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90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214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0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13" name="Rectangle 69"/>
          <p:cNvSpPr/>
          <p:nvPr userDrawn="1">
            <p:custDataLst>
              <p:tags r:id="rId10"/>
            </p:custDataLst>
          </p:nvPr>
        </p:nvSpPr>
        <p:spPr>
          <a:xfrm>
            <a:off x="3672856" y="5164854"/>
            <a:ext cx="432000" cy="202500"/>
          </a:xfrm>
          <a:prstGeom prst="rect">
            <a:avLst/>
          </a:prstGeom>
          <a:solidFill>
            <a:srgbClr val="004165"/>
          </a:solidFill>
          <a:ln w="25400" cap="flat" cmpd="sng" algn="ctr">
            <a:noFill/>
            <a:prstDash val="solid"/>
          </a:ln>
          <a:effectLst/>
        </p:spPr>
        <p:txBody>
          <a:bodyPr lIns="70383" tIns="35204" rIns="70383" bIns="35204" rtlCol="0" anchor="ctr"/>
          <a:lstStyle/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0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65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01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14" name="Rectangle 72"/>
          <p:cNvSpPr/>
          <p:nvPr userDrawn="1">
            <p:custDataLst>
              <p:tags r:id="rId11"/>
            </p:custDataLst>
          </p:nvPr>
        </p:nvSpPr>
        <p:spPr>
          <a:xfrm>
            <a:off x="1838767" y="5168687"/>
            <a:ext cx="432000" cy="202500"/>
          </a:xfrm>
          <a:prstGeom prst="rect">
            <a:avLst/>
          </a:prstGeom>
          <a:solidFill>
            <a:srgbClr val="C7C8CA"/>
          </a:solidFill>
          <a:ln w="25400" cap="flat" cmpd="sng" algn="ctr">
            <a:noFill/>
            <a:prstDash val="solid"/>
          </a:ln>
          <a:effectLst/>
        </p:spPr>
        <p:txBody>
          <a:bodyPr lIns="70383" tIns="35204" rIns="70383" bIns="35204" rtlCol="0" anchor="ctr"/>
          <a:lstStyle/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99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200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202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15" name="Rectangle 73"/>
          <p:cNvSpPr/>
          <p:nvPr userDrawn="1">
            <p:custDataLst>
              <p:tags r:id="rId12"/>
            </p:custDataLst>
          </p:nvPr>
        </p:nvSpPr>
        <p:spPr>
          <a:xfrm>
            <a:off x="2300612" y="5168687"/>
            <a:ext cx="432000" cy="202500"/>
          </a:xfrm>
          <a:prstGeom prst="rect">
            <a:avLst/>
          </a:prstGeom>
          <a:solidFill>
            <a:srgbClr val="9D9FA2"/>
          </a:solidFill>
          <a:ln w="25400" cap="flat" cmpd="sng" algn="ctr">
            <a:noFill/>
            <a:prstDash val="solid"/>
          </a:ln>
          <a:effectLst/>
        </p:spPr>
        <p:txBody>
          <a:bodyPr lIns="70383" tIns="35204" rIns="70383" bIns="35204" rtlCol="0" anchor="ctr"/>
          <a:lstStyle/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57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59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62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16" name="Rectangle 74"/>
          <p:cNvSpPr/>
          <p:nvPr userDrawn="1">
            <p:custDataLst>
              <p:tags r:id="rId13"/>
            </p:custDataLst>
          </p:nvPr>
        </p:nvSpPr>
        <p:spPr>
          <a:xfrm>
            <a:off x="2762453" y="5168687"/>
            <a:ext cx="432000" cy="202500"/>
          </a:xfrm>
          <a:prstGeom prst="rect">
            <a:avLst/>
          </a:prstGeom>
          <a:solidFill>
            <a:srgbClr val="7A7A7D"/>
          </a:solidFill>
          <a:ln w="25400" cap="flat" cmpd="sng" algn="ctr">
            <a:noFill/>
            <a:prstDash val="solid"/>
          </a:ln>
          <a:effectLst/>
        </p:spPr>
        <p:txBody>
          <a:bodyPr lIns="70383" tIns="35204" rIns="70383" bIns="35204" rtlCol="0" anchor="ctr"/>
          <a:lstStyle/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22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22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25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17" name="Rectangle 81"/>
          <p:cNvSpPr/>
          <p:nvPr userDrawn="1">
            <p:custDataLst>
              <p:tags r:id="rId14"/>
            </p:custDataLst>
          </p:nvPr>
        </p:nvSpPr>
        <p:spPr>
          <a:xfrm>
            <a:off x="2" y="5377139"/>
            <a:ext cx="432000" cy="121500"/>
          </a:xfrm>
          <a:prstGeom prst="rect">
            <a:avLst/>
          </a:prstGeom>
          <a:solidFill>
            <a:srgbClr val="0099AB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5905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Azul PT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18" name="Rectangle 82"/>
          <p:cNvSpPr/>
          <p:nvPr userDrawn="1">
            <p:custDataLst>
              <p:tags r:id="rId15"/>
            </p:custDataLst>
          </p:nvPr>
        </p:nvSpPr>
        <p:spPr>
          <a:xfrm>
            <a:off x="461846" y="5377139"/>
            <a:ext cx="432000" cy="121500"/>
          </a:xfrm>
          <a:prstGeom prst="rect">
            <a:avLst/>
          </a:prstGeom>
          <a:solidFill>
            <a:srgbClr val="3BC2D7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5905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Azul claro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19" name="Rectangle 83"/>
          <p:cNvSpPr/>
          <p:nvPr userDrawn="1">
            <p:custDataLst>
              <p:tags r:id="rId16"/>
            </p:custDataLst>
          </p:nvPr>
        </p:nvSpPr>
        <p:spPr>
          <a:xfrm>
            <a:off x="1385539" y="5377139"/>
            <a:ext cx="432000" cy="121500"/>
          </a:xfrm>
          <a:prstGeom prst="rect">
            <a:avLst/>
          </a:prstGeom>
          <a:solidFill>
            <a:srgbClr val="002E48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5905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Azul escuro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20" name="Rectangle 84"/>
          <p:cNvSpPr/>
          <p:nvPr userDrawn="1">
            <p:custDataLst>
              <p:tags r:id="rId17"/>
            </p:custDataLst>
          </p:nvPr>
        </p:nvSpPr>
        <p:spPr>
          <a:xfrm>
            <a:off x="923694" y="5377139"/>
            <a:ext cx="432000" cy="121500"/>
          </a:xfrm>
          <a:prstGeom prst="rect">
            <a:avLst/>
          </a:prstGeom>
          <a:solidFill>
            <a:srgbClr val="005884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5905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Azul Intermédio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21" name="Rectangle 87"/>
          <p:cNvSpPr/>
          <p:nvPr userDrawn="1">
            <p:custDataLst>
              <p:tags r:id="rId18"/>
            </p:custDataLst>
          </p:nvPr>
        </p:nvSpPr>
        <p:spPr>
          <a:xfrm>
            <a:off x="3228954" y="5380943"/>
            <a:ext cx="432000" cy="121500"/>
          </a:xfrm>
          <a:prstGeom prst="rect">
            <a:avLst/>
          </a:prstGeom>
          <a:solidFill>
            <a:srgbClr val="BED600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5905">
              <a:defRPr/>
            </a:pPr>
            <a:r>
              <a:rPr lang="pt-PT" sz="500" kern="0" dirty="0" smtClean="0">
                <a:solidFill>
                  <a:sysClr val="window" lastClr="FFFFFF"/>
                </a:solidFill>
                <a:latin typeface="Myriad Pro Light" pitchFamily="34" charset="0"/>
              </a:rPr>
              <a:t>Verde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22" name="Rectangle 88"/>
          <p:cNvSpPr/>
          <p:nvPr userDrawn="1">
            <p:custDataLst>
              <p:tags r:id="rId19"/>
            </p:custDataLst>
          </p:nvPr>
        </p:nvSpPr>
        <p:spPr>
          <a:xfrm>
            <a:off x="3672856" y="5377139"/>
            <a:ext cx="432000" cy="121500"/>
          </a:xfrm>
          <a:prstGeom prst="rect">
            <a:avLst/>
          </a:prstGeom>
          <a:solidFill>
            <a:srgbClr val="004165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5905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Azul suplem</a:t>
            </a:r>
            <a:r>
              <a:rPr lang="pt-PT" sz="500" kern="0" dirty="0" smtClean="0">
                <a:solidFill>
                  <a:sysClr val="window" lastClr="FFFFFF"/>
                </a:solidFill>
                <a:latin typeface="Myriad Pro Light" pitchFamily="34" charset="0"/>
              </a:rPr>
              <a:t>.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23" name="Rectangle 91"/>
          <p:cNvSpPr/>
          <p:nvPr userDrawn="1">
            <p:custDataLst>
              <p:tags r:id="rId20"/>
            </p:custDataLst>
          </p:nvPr>
        </p:nvSpPr>
        <p:spPr>
          <a:xfrm>
            <a:off x="1838767" y="5380943"/>
            <a:ext cx="432000" cy="121500"/>
          </a:xfrm>
          <a:prstGeom prst="rect">
            <a:avLst/>
          </a:prstGeom>
          <a:solidFill>
            <a:srgbClr val="C7C8CA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5905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Cinza claro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24" name="Rectangle 92"/>
          <p:cNvSpPr/>
          <p:nvPr userDrawn="1">
            <p:custDataLst>
              <p:tags r:id="rId21"/>
            </p:custDataLst>
          </p:nvPr>
        </p:nvSpPr>
        <p:spPr>
          <a:xfrm>
            <a:off x="2300612" y="5380943"/>
            <a:ext cx="432000" cy="121500"/>
          </a:xfrm>
          <a:prstGeom prst="rect">
            <a:avLst/>
          </a:prstGeom>
          <a:solidFill>
            <a:srgbClr val="9D9FA2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5905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Cinza intermédio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25" name="Rectangle 93"/>
          <p:cNvSpPr/>
          <p:nvPr userDrawn="1">
            <p:custDataLst>
              <p:tags r:id="rId22"/>
            </p:custDataLst>
          </p:nvPr>
        </p:nvSpPr>
        <p:spPr>
          <a:xfrm>
            <a:off x="2762453" y="5380943"/>
            <a:ext cx="432000" cy="121500"/>
          </a:xfrm>
          <a:prstGeom prst="rect">
            <a:avLst/>
          </a:prstGeom>
          <a:solidFill>
            <a:srgbClr val="7A7A7D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5905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Cinza escuro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26" name="Rectangle 69"/>
          <p:cNvSpPr/>
          <p:nvPr userDrawn="1">
            <p:custDataLst>
              <p:tags r:id="rId23"/>
            </p:custDataLst>
          </p:nvPr>
        </p:nvSpPr>
        <p:spPr>
          <a:xfrm>
            <a:off x="4117347" y="5160097"/>
            <a:ext cx="432000" cy="202500"/>
          </a:xfrm>
          <a:prstGeom prst="rect">
            <a:avLst/>
          </a:prstGeom>
          <a:solidFill>
            <a:srgbClr val="7577C0"/>
          </a:solidFill>
          <a:ln w="25400" cap="flat" cmpd="sng" algn="ctr">
            <a:noFill/>
            <a:prstDash val="solid"/>
          </a:ln>
          <a:effectLst/>
        </p:spPr>
        <p:txBody>
          <a:bodyPr lIns="70383" tIns="35204" rIns="70383" bIns="35204" rtlCol="0" anchor="ctr"/>
          <a:lstStyle/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17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19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92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27" name="Rectangle 88"/>
          <p:cNvSpPr/>
          <p:nvPr userDrawn="1">
            <p:custDataLst>
              <p:tags r:id="rId24"/>
            </p:custDataLst>
          </p:nvPr>
        </p:nvSpPr>
        <p:spPr>
          <a:xfrm>
            <a:off x="4117347" y="5372357"/>
            <a:ext cx="432000" cy="121500"/>
          </a:xfrm>
          <a:prstGeom prst="rect">
            <a:avLst/>
          </a:prstGeom>
          <a:solidFill>
            <a:srgbClr val="7577C0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5905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Roxo Esc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28" name="Rectangle 69"/>
          <p:cNvSpPr/>
          <p:nvPr userDrawn="1">
            <p:custDataLst>
              <p:tags r:id="rId25"/>
            </p:custDataLst>
          </p:nvPr>
        </p:nvSpPr>
        <p:spPr>
          <a:xfrm>
            <a:off x="4568206" y="5164870"/>
            <a:ext cx="432000" cy="197738"/>
          </a:xfrm>
          <a:prstGeom prst="rect">
            <a:avLst/>
          </a:prstGeom>
          <a:solidFill>
            <a:srgbClr val="BCBDE0"/>
          </a:solidFill>
          <a:ln w="25400" cap="flat" cmpd="sng" algn="ctr">
            <a:noFill/>
            <a:prstDash val="solid"/>
          </a:ln>
          <a:effectLst/>
        </p:spPr>
        <p:txBody>
          <a:bodyPr lIns="70383" tIns="35204" rIns="70383" bIns="35204" rtlCol="0" anchor="ctr"/>
          <a:lstStyle/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88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189</a:t>
            </a:r>
          </a:p>
          <a:p>
            <a:pPr defTabSz="825905">
              <a:defRPr/>
            </a:pPr>
            <a:r>
              <a:rPr lang="pt-PT" sz="700" kern="0" dirty="0" smtClean="0">
                <a:solidFill>
                  <a:sysClr val="window" lastClr="FFFFFF"/>
                </a:solidFill>
                <a:latin typeface="Myriad Pro" pitchFamily="34" charset="0"/>
              </a:rPr>
              <a:t>224</a:t>
            </a:r>
            <a:endParaRPr lang="pt-PT" sz="700" kern="0" dirty="0">
              <a:solidFill>
                <a:sysClr val="window" lastClr="FFFFFF"/>
              </a:solidFill>
              <a:latin typeface="Myriad Pro" pitchFamily="34" charset="0"/>
            </a:endParaRPr>
          </a:p>
        </p:txBody>
      </p:sp>
      <p:sp>
        <p:nvSpPr>
          <p:cNvPr id="29" name="Rectangle 88"/>
          <p:cNvSpPr/>
          <p:nvPr userDrawn="1">
            <p:custDataLst>
              <p:tags r:id="rId26"/>
            </p:custDataLst>
          </p:nvPr>
        </p:nvSpPr>
        <p:spPr>
          <a:xfrm>
            <a:off x="4568206" y="5377139"/>
            <a:ext cx="432000" cy="121500"/>
          </a:xfrm>
          <a:prstGeom prst="rect">
            <a:avLst/>
          </a:prstGeom>
          <a:solidFill>
            <a:srgbClr val="BCBDE0"/>
          </a:solidFill>
          <a:ln w="25400" cap="flat" cmpd="sng" algn="ctr">
            <a:noFill/>
            <a:prstDash val="solid"/>
          </a:ln>
          <a:effectLst/>
        </p:spPr>
        <p:txBody>
          <a:bodyPr lIns="27698" tIns="27698" rIns="27698" bIns="27698" rtlCol="0" anchor="ctr"/>
          <a:lstStyle/>
          <a:p>
            <a:pPr defTabSz="825905">
              <a:defRPr/>
            </a:pPr>
            <a:r>
              <a:rPr lang="pt-PT" sz="500" kern="0" smtClean="0">
                <a:solidFill>
                  <a:sysClr val="window" lastClr="FFFFFF"/>
                </a:solidFill>
                <a:latin typeface="Myriad Pro Light" pitchFamily="34" charset="0"/>
              </a:rPr>
              <a:t>Roxo Clar</a:t>
            </a:r>
            <a:endParaRPr lang="pt-PT" sz="500" kern="0" dirty="0">
              <a:solidFill>
                <a:sysClr val="window" lastClr="FFFFFF"/>
              </a:solidFill>
              <a:latin typeface="Myriad Pro Light" pitchFamily="34" charset="0"/>
            </a:endParaRPr>
          </a:p>
        </p:txBody>
      </p:sp>
      <p:sp>
        <p:nvSpPr>
          <p:cNvPr id="41" name="Espaço Reservado para Texto 40"/>
          <p:cNvSpPr>
            <a:spLocks noGrp="1"/>
          </p:cNvSpPr>
          <p:nvPr>
            <p:ph type="body" sz="quarter" idx="11"/>
            <p:custDataLst>
              <p:tags r:id="rId27"/>
            </p:custDataLst>
          </p:nvPr>
        </p:nvSpPr>
        <p:spPr>
          <a:xfrm>
            <a:off x="1589" y="1193"/>
            <a:ext cx="1588" cy="1191"/>
          </a:xfrm>
          <a:prstGeom prst="rect">
            <a:avLst/>
          </a:prstGeom>
        </p:spPr>
        <p:txBody>
          <a:bodyPr lIns="82649" tIns="41330" rIns="82649" bIns="4133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91264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 userDrawn="1"/>
        </p:nvSpPr>
        <p:spPr>
          <a:xfrm>
            <a:off x="8468159" y="4840357"/>
            <a:ext cx="566531" cy="1789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494">
              <a:lnSpc>
                <a:spcPts val="1350"/>
              </a:lnSpc>
              <a:spcBef>
                <a:spcPts val="600"/>
              </a:spcBef>
            </a:pPr>
            <a:endParaRPr lang="pt-BR" sz="1200" i="1" dirty="0" smtClean="0">
              <a:solidFill>
                <a:prstClr val="black"/>
              </a:solidFill>
            </a:endParaRPr>
          </a:p>
        </p:txBody>
      </p:sp>
      <p:sp>
        <p:nvSpPr>
          <p:cNvPr id="4" name="CaixaDeTexto 3"/>
          <p:cNvSpPr txBox="1"/>
          <p:nvPr userDrawn="1"/>
        </p:nvSpPr>
        <p:spPr>
          <a:xfrm>
            <a:off x="8552321" y="4929827"/>
            <a:ext cx="398207" cy="1625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494">
              <a:lnSpc>
                <a:spcPts val="1350"/>
              </a:lnSpc>
              <a:spcBef>
                <a:spcPts val="600"/>
              </a:spcBef>
            </a:pPr>
            <a:fld id="{D4D58D87-8487-4709-9825-59DEF4D6437F}" type="slidenum">
              <a:rPr lang="pt-BR" sz="900" i="1" smtClean="0">
                <a:solidFill>
                  <a:prstClr val="black"/>
                </a:solidFill>
              </a:rPr>
              <a:pPr defTabSz="685494">
                <a:lnSpc>
                  <a:spcPts val="1350"/>
                </a:lnSpc>
                <a:spcBef>
                  <a:spcPts val="600"/>
                </a:spcBef>
              </a:pPr>
              <a:t>‹nº›</a:t>
            </a:fld>
            <a:endParaRPr lang="pt-BR" sz="900" i="1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68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32"/>
          <p:cNvSpPr txBox="1">
            <a:spLocks noChangeArrowheads="1"/>
          </p:cNvSpPr>
          <p:nvPr userDrawn="1"/>
        </p:nvSpPr>
        <p:spPr bwMode="auto">
          <a:xfrm>
            <a:off x="8172423" y="4881591"/>
            <a:ext cx="860476" cy="25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649" tIns="41330" rIns="82649" bIns="41330">
            <a:spAutoFit/>
          </a:bodyPr>
          <a:lstStyle/>
          <a:p>
            <a:pPr algn="ctr" defTabSz="413252" eaLnBrk="0" hangingPunct="0">
              <a:spcBef>
                <a:spcPct val="50000"/>
              </a:spcBef>
              <a:defRPr/>
            </a:pPr>
            <a:r>
              <a:rPr lang="en-US" sz="1100" smtClean="0">
                <a:solidFill>
                  <a:srgbClr val="0099AB"/>
                </a:solidFill>
                <a:latin typeface="Neo Tech Pro" pitchFamily="34" charset="0"/>
                <a:ea typeface="ＭＳ Ｐゴシック" pitchFamily="34" charset="-128"/>
                <a:cs typeface="Arial" pitchFamily="34" charset="0"/>
              </a:rPr>
              <a:t>&gt;&gt; 0</a:t>
            </a:r>
            <a:fld id="{32B6E4E6-CAFA-4F9A-B0B3-C424BB12C6F8}" type="slidenum">
              <a:rPr lang="en-US" sz="1100" smtClean="0">
                <a:solidFill>
                  <a:srgbClr val="0099AB"/>
                </a:solidFill>
                <a:latin typeface="Neo Tech Pro" pitchFamily="34" charset="0"/>
                <a:ea typeface="ＭＳ Ｐゴシック" pitchFamily="34" charset="-128"/>
                <a:cs typeface="Arial" pitchFamily="34" charset="0"/>
              </a:rPr>
              <a:pPr algn="ctr" defTabSz="413252" eaLnBrk="0" hangingPunct="0">
                <a:spcBef>
                  <a:spcPct val="50000"/>
                </a:spcBef>
                <a:defRPr/>
              </a:pPr>
              <a:t>‹nº›</a:t>
            </a:fld>
            <a:endParaRPr lang="en-US" sz="1100" dirty="0">
              <a:solidFill>
                <a:srgbClr val="0099AB"/>
              </a:solidFill>
              <a:latin typeface="Neo Tech Pro" pitchFamily="34" charset="0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6108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244" y="3585084"/>
            <a:ext cx="1257814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274"/>
              </a:lnSpc>
              <a:spcBef>
                <a:spcPts val="547"/>
              </a:spcBef>
              <a:defRPr lang="en-US" sz="9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5" y="2249803"/>
            <a:ext cx="3956865" cy="575468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700" baseline="0" noProof="0" smtClean="0"/>
            </a:lvl1pPr>
          </a:lstStyle>
          <a:p>
            <a:pPr lvl="0">
              <a:lnSpc>
                <a:spcPts val="1822"/>
              </a:lnSpc>
              <a:spcBef>
                <a:spcPts val="82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2" y="917940"/>
            <a:ext cx="3956865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6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2733"/>
              </a:lnSpc>
              <a:spcBef>
                <a:spcPts val="1274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961337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22452" y="2212500"/>
            <a:ext cx="166981" cy="348934"/>
          </a:xfrm>
          <a:prstGeom prst="rect">
            <a:avLst/>
          </a:prstGeom>
          <a:noFill/>
        </p:spPr>
        <p:txBody>
          <a:bodyPr wrap="none" lIns="82649" tIns="41330" rIns="82649" bIns="41330" rtlCol="0">
            <a:spAutoFit/>
          </a:bodyPr>
          <a:lstStyle/>
          <a:p>
            <a:pPr defTabSz="413252"/>
            <a:endParaRPr lang="en-US" sz="1700" dirty="0">
              <a:solidFill>
                <a:prstClr val="black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40352" y="4876051"/>
            <a:ext cx="837456" cy="267494"/>
          </a:xfrm>
          <a:prstGeom prst="rect">
            <a:avLst/>
          </a:prstGeom>
        </p:spPr>
        <p:txBody>
          <a:bodyPr lIns="82649" tIns="41330" rIns="82649" bIns="41330"/>
          <a:lstStyle>
            <a:lvl1pPr algn="r">
              <a:lnSpc>
                <a:spcPct val="80000"/>
              </a:lnSpc>
              <a:defRPr sz="10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defTabSz="413252"/>
            <a:fld id="{34F21757-CAEC-9B46-BA5E-8BB41E742229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413252"/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7144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1428" tIns="45714" rIns="91428" bIns="45714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10441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uias H"/>
          <p:cNvGrpSpPr>
            <a:grpSpLocks/>
          </p:cNvGrpSpPr>
          <p:nvPr userDrawn="1"/>
        </p:nvGrpSpPr>
        <p:grpSpPr bwMode="auto">
          <a:xfrm>
            <a:off x="-46038" y="323852"/>
            <a:ext cx="33338" cy="4498975"/>
            <a:chOff x="-45868" y="323999"/>
            <a:chExt cx="33137" cy="4499598"/>
          </a:xfrm>
        </p:grpSpPr>
        <p:sp>
          <p:nvSpPr>
            <p:cNvPr id="3" name="Rectangle 51"/>
            <p:cNvSpPr/>
            <p:nvPr userDrawn="1"/>
          </p:nvSpPr>
          <p:spPr>
            <a:xfrm>
              <a:off x="-45868" y="323999"/>
              <a:ext cx="33137" cy="50330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4" name="Rectangle 76"/>
            <p:cNvSpPr/>
            <p:nvPr userDrawn="1"/>
          </p:nvSpPr>
          <p:spPr>
            <a:xfrm>
              <a:off x="-45868" y="917806"/>
              <a:ext cx="33137" cy="5763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5" name="Rectangle 77"/>
            <p:cNvSpPr/>
            <p:nvPr userDrawn="1"/>
          </p:nvSpPr>
          <p:spPr>
            <a:xfrm>
              <a:off x="-45868" y="1584649"/>
              <a:ext cx="33137" cy="57475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6" name="Rectangle 78"/>
            <p:cNvSpPr/>
            <p:nvPr userDrawn="1"/>
          </p:nvSpPr>
          <p:spPr>
            <a:xfrm>
              <a:off x="-45868" y="2249904"/>
              <a:ext cx="33137" cy="5763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7" name="Rectangle 79"/>
            <p:cNvSpPr/>
            <p:nvPr userDrawn="1"/>
          </p:nvSpPr>
          <p:spPr>
            <a:xfrm>
              <a:off x="-45868" y="2915158"/>
              <a:ext cx="33137" cy="5763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8" name="Rectangle 80"/>
            <p:cNvSpPr/>
            <p:nvPr userDrawn="1"/>
          </p:nvSpPr>
          <p:spPr>
            <a:xfrm>
              <a:off x="-45868" y="3582000"/>
              <a:ext cx="33137" cy="5763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9" name="Rectangle 83"/>
            <p:cNvSpPr/>
            <p:nvPr userDrawn="1"/>
          </p:nvSpPr>
          <p:spPr>
            <a:xfrm flipV="1">
              <a:off x="-45868" y="4247255"/>
              <a:ext cx="33137" cy="5763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0" name="Rectangle 84"/>
            <p:cNvSpPr/>
            <p:nvPr userDrawn="1"/>
          </p:nvSpPr>
          <p:spPr>
            <a:xfrm flipV="1">
              <a:off x="-45868" y="4247255"/>
              <a:ext cx="33137" cy="50489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Picture 3" descr="Z:\SEIS SIGMA RAIZ\NOVA LOGO\PROFICIÊNCIAS\YB_Positivo.Laranja.Yellow Bel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2265" y="-4763"/>
            <a:ext cx="1201737" cy="665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054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1428" tIns="45714" rIns="91428" bIns="45714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8738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uias V"/>
          <p:cNvGrpSpPr>
            <a:grpSpLocks/>
          </p:cNvGrpSpPr>
          <p:nvPr/>
        </p:nvGrpSpPr>
        <p:grpSpPr bwMode="auto">
          <a:xfrm>
            <a:off x="576263" y="-49213"/>
            <a:ext cx="8002587" cy="36513"/>
            <a:chOff x="576000" y="-48469"/>
            <a:chExt cx="8002160" cy="36000"/>
          </a:xfrm>
        </p:grpSpPr>
        <p:sp>
          <p:nvSpPr>
            <p:cNvPr id="3" name="Rectangle 34"/>
            <p:cNvSpPr/>
            <p:nvPr userDrawn="1"/>
          </p:nvSpPr>
          <p:spPr>
            <a:xfrm>
              <a:off x="7317752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4" name="Rectangle 35"/>
            <p:cNvSpPr/>
            <p:nvPr userDrawn="1"/>
          </p:nvSpPr>
          <p:spPr>
            <a:xfrm>
              <a:off x="5970037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5" name="Rectangle 36"/>
            <p:cNvSpPr/>
            <p:nvPr userDrawn="1"/>
          </p:nvSpPr>
          <p:spPr>
            <a:xfrm>
              <a:off x="4620734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6" name="Rectangle 37"/>
            <p:cNvSpPr/>
            <p:nvPr userDrawn="1"/>
          </p:nvSpPr>
          <p:spPr>
            <a:xfrm>
              <a:off x="3273018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7" name="Rectangle 38"/>
            <p:cNvSpPr/>
            <p:nvPr userDrawn="1"/>
          </p:nvSpPr>
          <p:spPr>
            <a:xfrm>
              <a:off x="1923715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8" name="Rectangle 39"/>
            <p:cNvSpPr/>
            <p:nvPr userDrawn="1"/>
          </p:nvSpPr>
          <p:spPr>
            <a:xfrm>
              <a:off x="576000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9" name="Guias H"/>
          <p:cNvGrpSpPr>
            <a:grpSpLocks/>
          </p:cNvGrpSpPr>
          <p:nvPr/>
        </p:nvGrpSpPr>
        <p:grpSpPr bwMode="auto">
          <a:xfrm>
            <a:off x="-46038" y="323852"/>
            <a:ext cx="33338" cy="4498975"/>
            <a:chOff x="-45868" y="323999"/>
            <a:chExt cx="33137" cy="4499598"/>
          </a:xfrm>
        </p:grpSpPr>
        <p:sp>
          <p:nvSpPr>
            <p:cNvPr id="10" name="Rectangle 41"/>
            <p:cNvSpPr/>
            <p:nvPr userDrawn="1"/>
          </p:nvSpPr>
          <p:spPr>
            <a:xfrm>
              <a:off x="-45868" y="323999"/>
              <a:ext cx="33137" cy="50330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1" name="Rectangle 42"/>
            <p:cNvSpPr/>
            <p:nvPr userDrawn="1"/>
          </p:nvSpPr>
          <p:spPr>
            <a:xfrm>
              <a:off x="-45868" y="917806"/>
              <a:ext cx="33137" cy="57634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2" name="Rectangle 43"/>
            <p:cNvSpPr/>
            <p:nvPr userDrawn="1"/>
          </p:nvSpPr>
          <p:spPr>
            <a:xfrm>
              <a:off x="-45868" y="1584649"/>
              <a:ext cx="33137" cy="5747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3" name="Rectangle 44"/>
            <p:cNvSpPr/>
            <p:nvPr userDrawn="1"/>
          </p:nvSpPr>
          <p:spPr>
            <a:xfrm>
              <a:off x="-45868" y="2249904"/>
              <a:ext cx="33137" cy="57634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4" name="Rectangle 45"/>
            <p:cNvSpPr/>
            <p:nvPr userDrawn="1"/>
          </p:nvSpPr>
          <p:spPr>
            <a:xfrm>
              <a:off x="-45868" y="2915158"/>
              <a:ext cx="33137" cy="57634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5" name="Rectangle 46"/>
            <p:cNvSpPr/>
            <p:nvPr userDrawn="1"/>
          </p:nvSpPr>
          <p:spPr>
            <a:xfrm>
              <a:off x="-45868" y="3582000"/>
              <a:ext cx="33137" cy="57634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6" name="Rectangle 47"/>
            <p:cNvSpPr/>
            <p:nvPr userDrawn="1"/>
          </p:nvSpPr>
          <p:spPr>
            <a:xfrm>
              <a:off x="-45868" y="323999"/>
              <a:ext cx="33137" cy="41439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7" name="Rectangle 48"/>
            <p:cNvSpPr/>
            <p:nvPr userDrawn="1"/>
          </p:nvSpPr>
          <p:spPr>
            <a:xfrm>
              <a:off x="-45868" y="323999"/>
              <a:ext cx="33137" cy="3254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8" name="Rectangle 49"/>
            <p:cNvSpPr/>
            <p:nvPr userDrawn="1"/>
          </p:nvSpPr>
          <p:spPr>
            <a:xfrm flipV="1">
              <a:off x="-45868" y="4247255"/>
              <a:ext cx="33137" cy="576342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9" name="Rectangle 50"/>
            <p:cNvSpPr/>
            <p:nvPr userDrawn="1"/>
          </p:nvSpPr>
          <p:spPr>
            <a:xfrm flipV="1">
              <a:off x="-45868" y="4247255"/>
              <a:ext cx="33137" cy="504895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0" name="Rectangle 51"/>
            <p:cNvSpPr/>
            <p:nvPr userDrawn="1"/>
          </p:nvSpPr>
          <p:spPr>
            <a:xfrm flipV="1">
              <a:off x="-45868" y="4436193"/>
              <a:ext cx="33137" cy="3254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21" name="TextBox 11"/>
          <p:cNvSpPr txBox="1">
            <a:spLocks noChangeArrowheads="1"/>
          </p:cNvSpPr>
          <p:nvPr userDrawn="1"/>
        </p:nvSpPr>
        <p:spPr bwMode="auto">
          <a:xfrm>
            <a:off x="11587163" y="614363"/>
            <a:ext cx="914400" cy="6858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9pPr>
          </a:lstStyle>
          <a:p>
            <a:pPr defTabSz="457130" eaLnBrk="1" fontAlgn="base" hangingPunct="1">
              <a:lnSpc>
                <a:spcPts val="1800"/>
              </a:lnSpc>
              <a:spcBef>
                <a:spcPts val="800"/>
              </a:spcBef>
              <a:spcAft>
                <a:spcPct val="0"/>
              </a:spcAft>
              <a:defRPr/>
            </a:pPr>
            <a:endParaRPr lang="pt-BR" altLang="pt-BR" sz="1600" i="1" smtClean="0">
              <a:solidFill>
                <a:prstClr val="black"/>
              </a:solidFill>
            </a:endParaRPr>
          </a:p>
        </p:txBody>
      </p:sp>
      <p:sp>
        <p:nvSpPr>
          <p:cNvPr id="34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809040" y="4867275"/>
            <a:ext cx="306387" cy="122238"/>
          </a:xfrm>
          <a:prstGeom prst="rect">
            <a:avLst/>
          </a:prstGeom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defTabSz="457130" fontAlgn="base">
              <a:spcBef>
                <a:spcPct val="0"/>
              </a:spcBef>
              <a:spcAft>
                <a:spcPct val="0"/>
              </a:spcAft>
              <a:defRPr/>
            </a:pPr>
            <a:fld id="{84395405-CA62-457C-8CD4-742D14600F29}" type="slidenum">
              <a:rPr lang="pt-BR" altLang="pt-BR" smtClean="0">
                <a:solidFill>
                  <a:prstClr val="black"/>
                </a:solidFill>
                <a:cs typeface="Arial" pitchFamily="34" charset="0"/>
              </a:rPr>
              <a:pPr defTabSz="45713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pt-BR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2011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1428" tIns="45714" rIns="91428" bIns="45714"/>
          <a:lstStyle>
            <a:lvl1pPr>
              <a:defRPr sz="2000"/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39499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uias H"/>
          <p:cNvGrpSpPr>
            <a:grpSpLocks/>
          </p:cNvGrpSpPr>
          <p:nvPr userDrawn="1"/>
        </p:nvGrpSpPr>
        <p:grpSpPr bwMode="auto">
          <a:xfrm>
            <a:off x="-46038" y="323852"/>
            <a:ext cx="33338" cy="4498975"/>
            <a:chOff x="-45868" y="323999"/>
            <a:chExt cx="33137" cy="4499598"/>
          </a:xfrm>
        </p:grpSpPr>
        <p:sp>
          <p:nvSpPr>
            <p:cNvPr id="3" name="Rectangle 51"/>
            <p:cNvSpPr/>
            <p:nvPr userDrawn="1"/>
          </p:nvSpPr>
          <p:spPr>
            <a:xfrm>
              <a:off x="-45868" y="323999"/>
              <a:ext cx="33137" cy="50330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4" name="Rectangle 76"/>
            <p:cNvSpPr/>
            <p:nvPr userDrawn="1"/>
          </p:nvSpPr>
          <p:spPr>
            <a:xfrm>
              <a:off x="-45868" y="917806"/>
              <a:ext cx="33137" cy="5763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5" name="Rectangle 77"/>
            <p:cNvSpPr/>
            <p:nvPr userDrawn="1"/>
          </p:nvSpPr>
          <p:spPr>
            <a:xfrm>
              <a:off x="-45868" y="1584649"/>
              <a:ext cx="33137" cy="57475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6" name="Rectangle 78"/>
            <p:cNvSpPr/>
            <p:nvPr userDrawn="1"/>
          </p:nvSpPr>
          <p:spPr>
            <a:xfrm>
              <a:off x="-45868" y="2249904"/>
              <a:ext cx="33137" cy="5763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7" name="Rectangle 79"/>
            <p:cNvSpPr/>
            <p:nvPr userDrawn="1"/>
          </p:nvSpPr>
          <p:spPr>
            <a:xfrm>
              <a:off x="-45868" y="2915158"/>
              <a:ext cx="33137" cy="5763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8" name="Rectangle 80"/>
            <p:cNvSpPr/>
            <p:nvPr userDrawn="1"/>
          </p:nvSpPr>
          <p:spPr>
            <a:xfrm>
              <a:off x="-45868" y="3582000"/>
              <a:ext cx="33137" cy="5763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9" name="Rectangle 83"/>
            <p:cNvSpPr/>
            <p:nvPr userDrawn="1"/>
          </p:nvSpPr>
          <p:spPr>
            <a:xfrm flipV="1">
              <a:off x="-45868" y="4247255"/>
              <a:ext cx="33137" cy="5763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0" name="Rectangle 84"/>
            <p:cNvSpPr/>
            <p:nvPr userDrawn="1"/>
          </p:nvSpPr>
          <p:spPr>
            <a:xfrm flipV="1">
              <a:off x="-45868" y="4247255"/>
              <a:ext cx="33137" cy="50489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Picture 3" descr="Z:\SEIS SIGMA RAIZ\NOVA LOGO\PROFICIÊNCIAS\YB_Positivo.Laranja.Yellow Bel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2265" y="-4763"/>
            <a:ext cx="1201737" cy="665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aixaDeTexto 11"/>
          <p:cNvSpPr txBox="1"/>
          <p:nvPr userDrawn="1"/>
        </p:nvSpPr>
        <p:spPr>
          <a:xfrm>
            <a:off x="8610600" y="4534694"/>
            <a:ext cx="457200" cy="3131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30" fontAlgn="base">
              <a:lnSpc>
                <a:spcPts val="1800"/>
              </a:lnSpc>
              <a:spcBef>
                <a:spcPts val="800"/>
              </a:spcBef>
              <a:spcAft>
                <a:spcPct val="0"/>
              </a:spcAft>
            </a:pPr>
            <a:endParaRPr lang="pt-BR" sz="1600" i="1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" name="CaixaDeTexto 13"/>
          <p:cNvSpPr txBox="1"/>
          <p:nvPr userDrawn="1"/>
        </p:nvSpPr>
        <p:spPr>
          <a:xfrm>
            <a:off x="8784511" y="4839495"/>
            <a:ext cx="530942" cy="2166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30" fontAlgn="base">
              <a:lnSpc>
                <a:spcPts val="1800"/>
              </a:lnSpc>
              <a:spcBef>
                <a:spcPts val="800"/>
              </a:spcBef>
              <a:spcAft>
                <a:spcPct val="0"/>
              </a:spcAft>
            </a:pPr>
            <a:fld id="{D4D58D87-8487-4709-9825-59DEF4D6437F}" type="slidenum">
              <a:rPr lang="pt-BR" sz="1200" i="1" smtClean="0">
                <a:solidFill>
                  <a:prstClr val="black"/>
                </a:solidFill>
                <a:cs typeface="Arial" pitchFamily="34" charset="0"/>
              </a:rPr>
              <a:pPr defTabSz="457130" fontAlgn="base">
                <a:lnSpc>
                  <a:spcPts val="1800"/>
                </a:lnSpc>
                <a:spcBef>
                  <a:spcPts val="800"/>
                </a:spcBef>
                <a:spcAft>
                  <a:spcPct val="0"/>
                </a:spcAft>
              </a:pPr>
              <a:t>‹nº›</a:t>
            </a:fld>
            <a:endParaRPr lang="pt-BR" sz="1200" i="1" dirty="0" smtClean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897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lIns="91428" tIns="45714" rIns="91428" bIns="45714"/>
          <a:lstStyle>
            <a:lvl1pPr>
              <a:defRPr sz="2000"/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86599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68553" tIns="34289" rIns="68553" bIns="34289"/>
          <a:lstStyle/>
          <a:p>
            <a:pPr algn="ctr" defTabSz="456974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6974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6999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uias V"/>
          <p:cNvGrpSpPr>
            <a:grpSpLocks/>
          </p:cNvGrpSpPr>
          <p:nvPr/>
        </p:nvGrpSpPr>
        <p:grpSpPr bwMode="auto">
          <a:xfrm>
            <a:off x="576263" y="-49213"/>
            <a:ext cx="8002587" cy="36513"/>
            <a:chOff x="576000" y="-48469"/>
            <a:chExt cx="8002160" cy="36000"/>
          </a:xfrm>
        </p:grpSpPr>
        <p:sp>
          <p:nvSpPr>
            <p:cNvPr id="3" name="Rectangle 34"/>
            <p:cNvSpPr/>
            <p:nvPr userDrawn="1"/>
          </p:nvSpPr>
          <p:spPr>
            <a:xfrm>
              <a:off x="7317752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4" name="Rectangle 35"/>
            <p:cNvSpPr/>
            <p:nvPr userDrawn="1"/>
          </p:nvSpPr>
          <p:spPr>
            <a:xfrm>
              <a:off x="5970037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5" name="Rectangle 36"/>
            <p:cNvSpPr/>
            <p:nvPr userDrawn="1"/>
          </p:nvSpPr>
          <p:spPr>
            <a:xfrm>
              <a:off x="4620734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6" name="Rectangle 37"/>
            <p:cNvSpPr/>
            <p:nvPr userDrawn="1"/>
          </p:nvSpPr>
          <p:spPr>
            <a:xfrm>
              <a:off x="3273018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7" name="Rectangle 38"/>
            <p:cNvSpPr/>
            <p:nvPr userDrawn="1"/>
          </p:nvSpPr>
          <p:spPr>
            <a:xfrm>
              <a:off x="1923715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8" name="Rectangle 39"/>
            <p:cNvSpPr/>
            <p:nvPr userDrawn="1"/>
          </p:nvSpPr>
          <p:spPr>
            <a:xfrm>
              <a:off x="576000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9" name="Guias H"/>
          <p:cNvGrpSpPr>
            <a:grpSpLocks/>
          </p:cNvGrpSpPr>
          <p:nvPr/>
        </p:nvGrpSpPr>
        <p:grpSpPr bwMode="auto">
          <a:xfrm>
            <a:off x="-46038" y="323852"/>
            <a:ext cx="33338" cy="4498975"/>
            <a:chOff x="-45868" y="323999"/>
            <a:chExt cx="33137" cy="4499598"/>
          </a:xfrm>
        </p:grpSpPr>
        <p:sp>
          <p:nvSpPr>
            <p:cNvPr id="10" name="Rectangle 41"/>
            <p:cNvSpPr/>
            <p:nvPr userDrawn="1"/>
          </p:nvSpPr>
          <p:spPr>
            <a:xfrm>
              <a:off x="-45868" y="323999"/>
              <a:ext cx="33137" cy="50330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1" name="Rectangle 42"/>
            <p:cNvSpPr/>
            <p:nvPr userDrawn="1"/>
          </p:nvSpPr>
          <p:spPr>
            <a:xfrm>
              <a:off x="-45868" y="917806"/>
              <a:ext cx="33137" cy="57634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2" name="Rectangle 43"/>
            <p:cNvSpPr/>
            <p:nvPr userDrawn="1"/>
          </p:nvSpPr>
          <p:spPr>
            <a:xfrm>
              <a:off x="-45868" y="1584649"/>
              <a:ext cx="33137" cy="5747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3" name="Rectangle 44"/>
            <p:cNvSpPr/>
            <p:nvPr userDrawn="1"/>
          </p:nvSpPr>
          <p:spPr>
            <a:xfrm>
              <a:off x="-45868" y="2249904"/>
              <a:ext cx="33137" cy="57634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4" name="Rectangle 45"/>
            <p:cNvSpPr/>
            <p:nvPr userDrawn="1"/>
          </p:nvSpPr>
          <p:spPr>
            <a:xfrm>
              <a:off x="-45868" y="2915158"/>
              <a:ext cx="33137" cy="57634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5" name="Rectangle 46"/>
            <p:cNvSpPr/>
            <p:nvPr userDrawn="1"/>
          </p:nvSpPr>
          <p:spPr>
            <a:xfrm>
              <a:off x="-45868" y="3582000"/>
              <a:ext cx="33137" cy="57634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6" name="Rectangle 47"/>
            <p:cNvSpPr/>
            <p:nvPr userDrawn="1"/>
          </p:nvSpPr>
          <p:spPr>
            <a:xfrm>
              <a:off x="-45868" y="323999"/>
              <a:ext cx="33137" cy="41439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7" name="Rectangle 48"/>
            <p:cNvSpPr/>
            <p:nvPr userDrawn="1"/>
          </p:nvSpPr>
          <p:spPr>
            <a:xfrm>
              <a:off x="-45868" y="323999"/>
              <a:ext cx="33137" cy="3254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8" name="Rectangle 49"/>
            <p:cNvSpPr/>
            <p:nvPr userDrawn="1"/>
          </p:nvSpPr>
          <p:spPr>
            <a:xfrm flipV="1">
              <a:off x="-45868" y="4247255"/>
              <a:ext cx="33137" cy="576342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19" name="Rectangle 50"/>
            <p:cNvSpPr/>
            <p:nvPr userDrawn="1"/>
          </p:nvSpPr>
          <p:spPr>
            <a:xfrm flipV="1">
              <a:off x="-45868" y="4247255"/>
              <a:ext cx="33137" cy="504895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0" name="Rectangle 51"/>
            <p:cNvSpPr/>
            <p:nvPr userDrawn="1"/>
          </p:nvSpPr>
          <p:spPr>
            <a:xfrm flipV="1">
              <a:off x="-45868" y="4436193"/>
              <a:ext cx="33137" cy="3254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21" name="TextBox 11"/>
          <p:cNvSpPr txBox="1">
            <a:spLocks noChangeArrowheads="1"/>
          </p:cNvSpPr>
          <p:nvPr userDrawn="1"/>
        </p:nvSpPr>
        <p:spPr bwMode="auto">
          <a:xfrm>
            <a:off x="11587163" y="614363"/>
            <a:ext cx="914400" cy="6858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9pPr>
          </a:lstStyle>
          <a:p>
            <a:pPr defTabSz="457130" eaLnBrk="1" fontAlgn="base" hangingPunct="1">
              <a:lnSpc>
                <a:spcPts val="1800"/>
              </a:lnSpc>
              <a:spcBef>
                <a:spcPts val="800"/>
              </a:spcBef>
              <a:spcAft>
                <a:spcPct val="0"/>
              </a:spcAft>
              <a:defRPr/>
            </a:pPr>
            <a:endParaRPr lang="pt-BR" altLang="pt-BR" sz="1600" i="1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212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10801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 userDrawn="1"/>
        </p:nvSpPr>
        <p:spPr>
          <a:xfrm>
            <a:off x="8468140" y="4840357"/>
            <a:ext cx="566531" cy="1789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783">
              <a:lnSpc>
                <a:spcPts val="1350"/>
              </a:lnSpc>
              <a:spcBef>
                <a:spcPts val="600"/>
              </a:spcBef>
            </a:pPr>
            <a:endParaRPr lang="pt-BR" sz="1200" i="1" dirty="0" smtClean="0">
              <a:solidFill>
                <a:prstClr val="black"/>
              </a:solidFill>
            </a:endParaRPr>
          </a:p>
        </p:txBody>
      </p:sp>
      <p:sp>
        <p:nvSpPr>
          <p:cNvPr id="4" name="CaixaDeTexto 3"/>
          <p:cNvSpPr txBox="1"/>
          <p:nvPr userDrawn="1"/>
        </p:nvSpPr>
        <p:spPr>
          <a:xfrm>
            <a:off x="8552302" y="4929809"/>
            <a:ext cx="398207" cy="1625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783">
              <a:lnSpc>
                <a:spcPts val="1350"/>
              </a:lnSpc>
              <a:spcBef>
                <a:spcPts val="600"/>
              </a:spcBef>
            </a:pPr>
            <a:fld id="{D4D58D87-8487-4709-9825-59DEF4D6437F}" type="slidenum">
              <a:rPr lang="pt-BR" sz="900" i="1" smtClean="0">
                <a:solidFill>
                  <a:prstClr val="black"/>
                </a:solidFill>
              </a:rPr>
              <a:pPr defTabSz="685783">
                <a:lnSpc>
                  <a:spcPts val="1350"/>
                </a:lnSpc>
                <a:spcBef>
                  <a:spcPts val="600"/>
                </a:spcBef>
              </a:pPr>
              <a:t>‹nº›</a:t>
            </a:fld>
            <a:endParaRPr lang="pt-BR" sz="900" i="1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1078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68579" tIns="34289" rIns="68579" bIns="34289"/>
          <a:lstStyle/>
          <a:p>
            <a:pPr algn="ctr" defTabSz="457178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7178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691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68579" tIns="34289" rIns="68579" bIns="34289"/>
          <a:lstStyle/>
          <a:p>
            <a:pPr algn="ctr" defTabSz="457178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7178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719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8623368"/>
      </p:ext>
    </p:extLst>
  </p:cSld>
  <p:clrMapOvr>
    <a:masterClrMapping/>
  </p:clrMapOvr>
  <p:transition advClick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1765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91438" tIns="45719" rIns="91438" bIns="45719"/>
          <a:lstStyle/>
          <a:p>
            <a:pPr algn="ctr" defTabSz="457189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189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728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91438" tIns="45719" rIns="91438" bIns="45719"/>
          <a:lstStyle/>
          <a:p>
            <a:pPr algn="ctr" defTabSz="457189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189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262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0620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68553" tIns="34289" rIns="68553" bIns="34289"/>
          <a:lstStyle/>
          <a:p>
            <a:pPr algn="ctr" defTabSz="456974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6974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274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91438" tIns="45719" rIns="91438" bIns="45719"/>
          <a:lstStyle/>
          <a:p>
            <a:pPr algn="ctr" defTabSz="457189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189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030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91438" tIns="45719" rIns="91438" bIns="45719"/>
          <a:lstStyle/>
          <a:p>
            <a:pPr algn="ctr" defTabSz="457189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189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280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2744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91438" tIns="45719" rIns="91438" bIns="45719"/>
          <a:lstStyle/>
          <a:p>
            <a:pPr algn="ctr" defTabSz="457189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189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08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91438" tIns="45719" rIns="91438" bIns="45719"/>
          <a:lstStyle/>
          <a:p>
            <a:pPr algn="ctr" defTabSz="457189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189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021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4675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91438" tIns="45719" rIns="91438" bIns="45719"/>
          <a:lstStyle/>
          <a:p>
            <a:pPr algn="ctr" defTabSz="914378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914378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650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91438" tIns="45719" rIns="91438" bIns="45719"/>
          <a:lstStyle/>
          <a:p>
            <a:pPr algn="ctr" defTabSz="914378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914378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  <a:prstGeom prst="rect">
            <a:avLst/>
          </a:prstGeom>
        </p:spPr>
        <p:txBody>
          <a:bodyPr lIns="91438" tIns="45719" rIns="91438" bIns="45719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14378"/>
            <a:fld id="{B8DDAB74-211A-435F-A620-CEA7292BE3F8}" type="datetimeFigureOut">
              <a:rPr lang="pt-BR" smtClean="0">
                <a:solidFill>
                  <a:prstClr val="black"/>
                </a:solidFill>
              </a:rPr>
              <a:pPr defTabSz="914378"/>
              <a:t>07/08/2017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14378"/>
            <a:fld id="{6DCF64D1-12D7-4969-ADF6-A6C86AF9196C}" type="slidenum">
              <a:rPr lang="pt-BR" smtClean="0">
                <a:solidFill>
                  <a:prstClr val="black"/>
                </a:solidFill>
              </a:rPr>
              <a:pPr defTabSz="914378"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8191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199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8704246"/>
      </p:ext>
    </p:extLst>
  </p:cSld>
  <p:clrMapOvr>
    <a:masterClrMapping/>
  </p:clrMapOvr>
  <p:transition advClick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91438" tIns="45719" rIns="91438" bIns="45719"/>
          <a:lstStyle/>
          <a:p>
            <a:pPr algn="ctr" defTabSz="457189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189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309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91438" tIns="45719" rIns="91438" bIns="45719"/>
          <a:lstStyle/>
          <a:p>
            <a:pPr algn="ctr" defTabSz="457189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189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583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title" hasCustomPrompt="1"/>
            <p:custDataLst>
              <p:tags r:id="rId1"/>
            </p:custDataLst>
          </p:nvPr>
        </p:nvSpPr>
        <p:spPr bwMode="auto">
          <a:xfrm>
            <a:off x="177696" y="73598"/>
            <a:ext cx="8267700" cy="28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3" tIns="38962" rIns="77923" bIns="38962" numCol="1" anchor="ctr" anchorCtr="0" compatLnSpc="1">
            <a:prstTxWarp prst="textNoShape">
              <a:avLst/>
            </a:prstTxWarp>
          </a:bodyPr>
          <a:lstStyle>
            <a:lvl1pPr algn="l" defTabSz="793692" rtl="0" fontAlgn="base">
              <a:spcBef>
                <a:spcPct val="0"/>
              </a:spcBef>
              <a:spcAft>
                <a:spcPct val="0"/>
              </a:spcAft>
              <a:defRPr lang="pt-BR" sz="1600" b="1" i="0" kern="120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dirty="0" smtClean="0"/>
              <a:t>Agenda</a:t>
            </a:r>
          </a:p>
        </p:txBody>
      </p:sp>
      <p:sp>
        <p:nvSpPr>
          <p:cNvPr id="3" name="Retângulo 2"/>
          <p:cNvSpPr/>
          <p:nvPr userDrawn="1">
            <p:custDataLst>
              <p:tags r:id="rId2"/>
            </p:custDataLst>
          </p:nvPr>
        </p:nvSpPr>
        <p:spPr bwMode="auto">
          <a:xfrm>
            <a:off x="2188724" y="1"/>
            <a:ext cx="6942539" cy="51419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8" tIns="45719" rIns="91438" bIns="45719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457189">
              <a:spcBef>
                <a:spcPct val="50000"/>
              </a:spcBef>
            </a:pPr>
            <a:endParaRPr lang="pt-BR" sz="1100" b="1" dirty="0" smtClean="0">
              <a:solidFill>
                <a:srgbClr val="71684F"/>
              </a:solidFill>
            </a:endParaRPr>
          </a:p>
        </p:txBody>
      </p:sp>
      <p:pic>
        <p:nvPicPr>
          <p:cNvPr id="4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3028" y="3465204"/>
            <a:ext cx="2031730" cy="1436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0030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 bwMode="auto">
          <a:xfrm>
            <a:off x="8828749" y="4932660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8" tIns="45719" rIns="91438" bIns="45719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11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11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CaixaDeTexto 16"/>
          <p:cNvSpPr txBox="1"/>
          <p:nvPr userDrawn="1"/>
        </p:nvSpPr>
        <p:spPr>
          <a:xfrm>
            <a:off x="272955" y="322263"/>
            <a:ext cx="253848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2000" i="1" dirty="0" smtClean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 hasCustomPrompt="1"/>
            <p:custDataLst>
              <p:tags r:id="rId1"/>
            </p:custDataLst>
          </p:nvPr>
        </p:nvSpPr>
        <p:spPr bwMode="auto">
          <a:xfrm>
            <a:off x="177696" y="5033"/>
            <a:ext cx="8267700" cy="28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3" tIns="38962" rIns="77923" bIns="38962" numCol="1" anchor="ctr" anchorCtr="0" compatLnSpc="1">
            <a:prstTxWarp prst="textNoShape">
              <a:avLst/>
            </a:prstTxWarp>
          </a:bodyPr>
          <a:lstStyle>
            <a:lvl1pPr algn="l" defTabSz="793692" rtl="0" fontAlgn="base">
              <a:spcBef>
                <a:spcPct val="0"/>
              </a:spcBef>
              <a:spcAft>
                <a:spcPct val="0"/>
              </a:spcAft>
              <a:defRPr lang="pt-BR" sz="1300" b="1" i="0" kern="120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9" name="Espaço Reservado para Texto 9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77696" y="218489"/>
            <a:ext cx="8212962" cy="230832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lang="pt-BR" sz="1500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353" indent="0">
              <a:buNone/>
              <a:defRPr/>
            </a:lvl2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pic>
        <p:nvPicPr>
          <p:cNvPr id="21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593" y="4123"/>
            <a:ext cx="696769" cy="49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2442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658" y="2410805"/>
            <a:ext cx="3368020" cy="23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64030" y="654801"/>
            <a:ext cx="7553536" cy="1292662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lnSpc>
                <a:spcPts val="3400"/>
              </a:lnSpc>
              <a:defRPr sz="4400" i="0">
                <a:solidFill>
                  <a:srgbClr val="A02BFF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/>
              <a:t>ANÁLISE DE RESULTADOS </a:t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FEVEREIRO 2016</a:t>
            </a:r>
            <a:endParaRPr lang="pt-BR" sz="420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53533" y="2480699"/>
            <a:ext cx="6720127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4D4D4D"/>
                </a:solidFill>
                <a:latin typeface="Simplon BP Bold" pitchFamily="2" charset="0"/>
              </a:defRPr>
            </a:lvl1pPr>
          </a:lstStyle>
          <a:p>
            <a:r>
              <a:rPr lang="pt-BR" dirty="0" smtClean="0">
                <a:latin typeface="Simplon BP Regular" pitchFamily="2" charset="0"/>
              </a:rPr>
              <a:t>Apresentação ao Conselho de Administração</a:t>
            </a:r>
          </a:p>
          <a:p>
            <a:endParaRPr lang="pt-BR" dirty="0" smtClean="0">
              <a:latin typeface="Simplon BP Regular" pitchFamily="2" charset="0"/>
            </a:endParaRPr>
          </a:p>
          <a:p>
            <a:r>
              <a:rPr lang="pt-BR" sz="1600" dirty="0" smtClean="0">
                <a:latin typeface="Simplon BP Regular" pitchFamily="2" charset="0"/>
              </a:rPr>
              <a:t>Rio de Janeiro, 29 de Março 2016</a:t>
            </a:r>
            <a:endParaRPr lang="pt-BR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0171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5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62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2"/>
          <p:cNvSpPr>
            <a:spLocks noGrp="1"/>
          </p:cNvSpPr>
          <p:nvPr>
            <p:ph type="ctrTitle"/>
          </p:nvPr>
        </p:nvSpPr>
        <p:spPr bwMode="auto">
          <a:xfrm>
            <a:off x="463552" y="401646"/>
            <a:ext cx="8502650" cy="711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40" tIns="34268" rIns="68540" bIns="34268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4200"/>
              </a:lnSpc>
              <a:spcBef>
                <a:spcPct val="0"/>
              </a:spcBef>
              <a:defRPr>
                <a:solidFill>
                  <a:schemeClr val="accent1"/>
                </a:solidFill>
                <a:latin typeface="Simplon Oi Headline" pitchFamily="50" charset="0"/>
              </a:defRPr>
            </a:lvl1pPr>
          </a:lstStyle>
          <a:p>
            <a:pPr>
              <a:lnSpc>
                <a:spcPts val="5600"/>
              </a:lnSpc>
              <a:spcBef>
                <a:spcPct val="0"/>
              </a:spcBef>
            </a:pPr>
            <a:endParaRPr lang="en-US" altLang="pt-BR" sz="5600" i="0" dirty="0" smtClean="0">
              <a:solidFill>
                <a:schemeClr val="bg1"/>
              </a:solidFill>
              <a:latin typeface="Simplon Oi Headline" pitchFamily="2" charset="0"/>
              <a:cs typeface="Arial" pitchFamily="34" charset="0"/>
            </a:endParaRPr>
          </a:p>
        </p:txBody>
      </p:sp>
      <p:pic>
        <p:nvPicPr>
          <p:cNvPr id="8" name="Picture 4" descr="Oi_todomundo_logo_1_c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1613" y="2662239"/>
            <a:ext cx="2024062" cy="202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1"/>
          <p:cNvSpPr txBox="1">
            <a:spLocks/>
          </p:cNvSpPr>
          <p:nvPr userDrawn="1"/>
        </p:nvSpPr>
        <p:spPr>
          <a:xfrm>
            <a:off x="146978" y="4676165"/>
            <a:ext cx="4079335" cy="288000"/>
          </a:xfrm>
          <a:prstGeom prst="rect">
            <a:avLst/>
          </a:prstGeom>
        </p:spPr>
        <p:txBody>
          <a:bodyPr lIns="91386" tIns="45691" rIns="91386" bIns="45691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 baseline="0">
                <a:solidFill>
                  <a:srgbClr val="FFFFFF"/>
                </a:solidFill>
                <a:latin typeface="Simplon BP Light" pitchFamily="2" charset="0"/>
                <a:ea typeface="+mn-ea"/>
                <a:cs typeface="Arial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i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O – </a:t>
            </a:r>
            <a:r>
              <a:rPr lang="pt-BR" i="1" dirty="0" err="1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ransformation</a:t>
            </a:r>
            <a:r>
              <a:rPr lang="pt-BR" i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Office</a:t>
            </a:r>
            <a:endParaRPr lang="pt-BR" i="1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258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5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86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08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9224" y="12720"/>
            <a:ext cx="815863" cy="576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6544" y="4999500"/>
            <a:ext cx="837456" cy="144000"/>
          </a:xfrm>
          <a:prstGeom prst="rect">
            <a:avLst/>
          </a:prstGeom>
        </p:spPr>
        <p:txBody>
          <a:bodyPr lIns="0" tIns="0" rIns="53968" bIns="0" anchor="ctr" anchorCtr="0"/>
          <a:lstStyle>
            <a:lvl1pPr algn="r">
              <a:lnSpc>
                <a:spcPct val="80000"/>
              </a:lnSpc>
              <a:defRPr sz="800">
                <a:solidFill>
                  <a:schemeClr val="accent2"/>
                </a:solidFill>
                <a:latin typeface="Simplon Oi Headline" pitchFamily="50" charset="0"/>
                <a:cs typeface="Arial"/>
              </a:defRPr>
            </a:lvl1pPr>
          </a:lstStyle>
          <a:p>
            <a:pPr defTabSz="456917"/>
            <a:fld id="{34F21757-CAEC-9B46-BA5E-8BB41E742229}" type="slidenum">
              <a:rPr lang="en-US" smtClean="0">
                <a:solidFill>
                  <a:srgbClr val="4D4D4D"/>
                </a:solidFill>
              </a:rPr>
              <a:pPr defTabSz="456917"/>
              <a:t>‹nº›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177801" y="187101"/>
            <a:ext cx="7994600" cy="4320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000" b="0">
                <a:solidFill>
                  <a:schemeClr val="accent1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55504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074865"/>
            <a:ext cx="7886700" cy="993775"/>
          </a:xfrm>
          <a:prstGeom prst="rect">
            <a:avLst/>
          </a:prstGeom>
        </p:spPr>
        <p:txBody>
          <a:bodyPr lIns="68579" tIns="34289" rIns="68579" bIns="34289" anchor="ctr"/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33" descr="D:\OI 2014\1. JASON\Oi_Logos\Oi_mass_logo_1_1c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577" y="180998"/>
            <a:ext cx="360000" cy="386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4294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778" name="Picture 2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6690" y="1946397"/>
            <a:ext cx="1910624" cy="1349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425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68579" tIns="34289" rIns="68579" bIns="34289"/>
          <a:lstStyle/>
          <a:p>
            <a:pPr algn="ctr" defTabSz="457178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7178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384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68553" tIns="34289" rIns="68553" bIns="34289"/>
          <a:lstStyle/>
          <a:p>
            <a:pPr defTabSz="685494"/>
            <a:fld id="{8C8B1907-7AD0-4D68-A9DB-7096FA7D71F8}" type="slidenum">
              <a:rPr lang="pt-BR" sz="1400" smtClean="0">
                <a:solidFill>
                  <a:prstClr val="black">
                    <a:tint val="75000"/>
                  </a:prstClr>
                </a:solidFill>
              </a:rPr>
              <a:pPr defTabSz="685494"/>
              <a:t>‹nº›</a:t>
            </a:fld>
            <a:endParaRPr lang="pt-BR" sz="140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22945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5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34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2"/>
          <p:cNvSpPr>
            <a:spLocks noGrp="1"/>
          </p:cNvSpPr>
          <p:nvPr>
            <p:ph type="ctrTitle"/>
          </p:nvPr>
        </p:nvSpPr>
        <p:spPr bwMode="auto">
          <a:xfrm>
            <a:off x="463551" y="401645"/>
            <a:ext cx="8502650" cy="711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41" tIns="34269" rIns="68541" bIns="34269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4200"/>
              </a:lnSpc>
              <a:spcBef>
                <a:spcPct val="0"/>
              </a:spcBef>
              <a:defRPr>
                <a:solidFill>
                  <a:schemeClr val="accent1"/>
                </a:solidFill>
                <a:latin typeface="Simplon Oi Headline" pitchFamily="50" charset="0"/>
              </a:defRPr>
            </a:lvl1pPr>
          </a:lstStyle>
          <a:p>
            <a:pPr>
              <a:lnSpc>
                <a:spcPts val="5600"/>
              </a:lnSpc>
              <a:spcBef>
                <a:spcPct val="0"/>
              </a:spcBef>
            </a:pPr>
            <a:endParaRPr lang="en-US" altLang="pt-BR" sz="5600" i="0" dirty="0" smtClean="0">
              <a:solidFill>
                <a:schemeClr val="bg1"/>
              </a:solidFill>
              <a:latin typeface="Simplon Oi Headline" pitchFamily="2" charset="0"/>
              <a:cs typeface="Arial" pitchFamily="34" charset="0"/>
            </a:endParaRPr>
          </a:p>
        </p:txBody>
      </p:sp>
      <p:pic>
        <p:nvPicPr>
          <p:cNvPr id="8" name="Picture 4" descr="Oi_todomundo_logo_1_c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1613" y="2662239"/>
            <a:ext cx="2024062" cy="202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1"/>
          <p:cNvSpPr txBox="1">
            <a:spLocks/>
          </p:cNvSpPr>
          <p:nvPr userDrawn="1"/>
        </p:nvSpPr>
        <p:spPr>
          <a:xfrm>
            <a:off x="146978" y="4676165"/>
            <a:ext cx="4079335" cy="288000"/>
          </a:xfrm>
          <a:prstGeom prst="rect">
            <a:avLst/>
          </a:prstGeom>
        </p:spPr>
        <p:txBody>
          <a:bodyPr lIns="91388" tIns="45692" rIns="91388" bIns="45692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 baseline="0">
                <a:solidFill>
                  <a:srgbClr val="FFFFFF"/>
                </a:solidFill>
                <a:latin typeface="Simplon BP Light" pitchFamily="2" charset="0"/>
                <a:ea typeface="+mn-ea"/>
                <a:cs typeface="Arial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i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O – </a:t>
            </a:r>
            <a:r>
              <a:rPr lang="pt-BR" i="1" dirty="0" err="1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ransformation</a:t>
            </a:r>
            <a:r>
              <a:rPr lang="pt-BR" i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Office</a:t>
            </a:r>
            <a:endParaRPr lang="pt-BR" i="1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737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5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58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08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9223" y="12719"/>
            <a:ext cx="815863" cy="576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6544" y="4999500"/>
            <a:ext cx="837456" cy="144000"/>
          </a:xfrm>
          <a:prstGeom prst="rect">
            <a:avLst/>
          </a:prstGeom>
        </p:spPr>
        <p:txBody>
          <a:bodyPr lIns="0" tIns="0" rIns="53969" bIns="0" anchor="ctr" anchorCtr="0"/>
          <a:lstStyle>
            <a:lvl1pPr algn="r">
              <a:lnSpc>
                <a:spcPct val="80000"/>
              </a:lnSpc>
              <a:defRPr sz="800">
                <a:solidFill>
                  <a:schemeClr val="accent2"/>
                </a:solidFill>
                <a:latin typeface="Simplon Oi Headline" pitchFamily="50" charset="0"/>
                <a:cs typeface="Arial"/>
              </a:defRPr>
            </a:lvl1pPr>
          </a:lstStyle>
          <a:p>
            <a:pPr defTabSz="456929"/>
            <a:fld id="{34F21757-CAEC-9B46-BA5E-8BB41E742229}" type="slidenum">
              <a:rPr lang="en-US" smtClean="0">
                <a:solidFill>
                  <a:srgbClr val="4D4D4D"/>
                </a:solidFill>
              </a:rPr>
              <a:pPr defTabSz="456929"/>
              <a:t>‹nº›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177801" y="187101"/>
            <a:ext cx="7994600" cy="4320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000" b="0">
                <a:solidFill>
                  <a:schemeClr val="accent1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19358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074864"/>
            <a:ext cx="7886700" cy="993775"/>
          </a:xfrm>
          <a:prstGeom prst="rect">
            <a:avLst/>
          </a:prstGeom>
        </p:spPr>
        <p:txBody>
          <a:bodyPr lIns="68580" tIns="34290" rIns="68580" bIns="34290" anchor="ctr"/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33" descr="D:\OI 2014\1. JASON\Oi_Logos\Oi_mass_logo_1_1c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577" y="180998"/>
            <a:ext cx="360000" cy="386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2891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778" name="Picture 2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6689" y="1946397"/>
            <a:ext cx="1910624" cy="1349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7921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68580" tIns="34290" rIns="68580" bIns="34290"/>
          <a:lstStyle/>
          <a:p>
            <a:pPr algn="ctr" defTabSz="457189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7189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094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 userDrawn="1"/>
        </p:nvSpPr>
        <p:spPr>
          <a:xfrm>
            <a:off x="8468217" y="4840357"/>
            <a:ext cx="566531" cy="1789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4542">
              <a:lnSpc>
                <a:spcPts val="1350"/>
              </a:lnSpc>
              <a:spcBef>
                <a:spcPts val="600"/>
              </a:spcBef>
            </a:pPr>
            <a:endParaRPr lang="pt-BR" sz="1200" i="1" dirty="0" smtClean="0">
              <a:solidFill>
                <a:prstClr val="black"/>
              </a:solidFill>
            </a:endParaRPr>
          </a:p>
        </p:txBody>
      </p:sp>
      <p:sp>
        <p:nvSpPr>
          <p:cNvPr id="4" name="CaixaDeTexto 3"/>
          <p:cNvSpPr txBox="1"/>
          <p:nvPr userDrawn="1"/>
        </p:nvSpPr>
        <p:spPr>
          <a:xfrm>
            <a:off x="8552379" y="4929884"/>
            <a:ext cx="398207" cy="1625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4542">
              <a:lnSpc>
                <a:spcPts val="1350"/>
              </a:lnSpc>
              <a:spcBef>
                <a:spcPts val="600"/>
              </a:spcBef>
            </a:pPr>
            <a:fld id="{D4D58D87-8487-4709-9825-59DEF4D6437F}" type="slidenum">
              <a:rPr lang="pt-BR" sz="900" i="1" smtClean="0">
                <a:solidFill>
                  <a:prstClr val="black"/>
                </a:solidFill>
              </a:rPr>
              <a:pPr defTabSz="684542">
                <a:lnSpc>
                  <a:spcPts val="1350"/>
                </a:lnSpc>
                <a:spcBef>
                  <a:spcPts val="600"/>
                </a:spcBef>
              </a:pPr>
              <a:t>‹nº›</a:t>
            </a:fld>
            <a:endParaRPr lang="pt-BR" sz="900" i="1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4112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68469" tIns="34289" rIns="68469" bIns="34289"/>
          <a:lstStyle/>
          <a:p>
            <a:pPr algn="ctr" defTabSz="456302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6302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022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68469" tIns="34289" rIns="68469" bIns="34289"/>
          <a:lstStyle/>
          <a:p>
            <a:pPr algn="ctr" defTabSz="456302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6302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489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398608"/>
      </p:ext>
    </p:extLst>
  </p:cSld>
  <p:clrMapOvr>
    <a:masterClrMapping/>
  </p:clrMapOvr>
  <p:transition advClick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6544" y="4999500"/>
            <a:ext cx="837456" cy="144000"/>
          </a:xfrm>
          <a:prstGeom prst="rect">
            <a:avLst/>
          </a:prstGeom>
        </p:spPr>
        <p:txBody>
          <a:bodyPr lIns="0" tIns="0" rIns="71993" bIns="0" anchor="ctr" anchorCtr="0"/>
          <a:lstStyle>
            <a:lvl1pPr algn="r">
              <a:lnSpc>
                <a:spcPct val="80000"/>
              </a:lnSpc>
              <a:defRPr sz="800">
                <a:solidFill>
                  <a:schemeClr val="accent2"/>
                </a:solidFill>
                <a:latin typeface="Simplon Oi Headline" pitchFamily="50" charset="0"/>
                <a:cs typeface="Arial"/>
              </a:defRPr>
            </a:lvl1pPr>
          </a:lstStyle>
          <a:p>
            <a:pPr defTabSz="457142"/>
            <a:fld id="{34F21757-CAEC-9B46-BA5E-8BB41E742229}" type="slidenum">
              <a:rPr lang="en-US" smtClean="0">
                <a:solidFill>
                  <a:srgbClr val="4D4D4D"/>
                </a:solidFill>
              </a:rPr>
              <a:pPr defTabSz="457142"/>
              <a:t>‹nº›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177800" y="187101"/>
            <a:ext cx="7994600" cy="4320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000" b="0">
                <a:solidFill>
                  <a:schemeClr val="accent1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  <p:pic>
        <p:nvPicPr>
          <p:cNvPr id="9" name="Picture 33" descr="D:\OI 2014\1. JASON\Oi_Logos\Oi_mass_logo_1_1c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577" y="180998"/>
            <a:ext cx="360000" cy="386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8810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9" y="176166"/>
            <a:ext cx="827576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1936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 userDrawn="1"/>
        </p:nvSpPr>
        <p:spPr>
          <a:xfrm>
            <a:off x="8468141" y="4840357"/>
            <a:ext cx="566531" cy="1789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800">
              <a:lnSpc>
                <a:spcPts val="1350"/>
              </a:lnSpc>
              <a:spcBef>
                <a:spcPts val="600"/>
              </a:spcBef>
            </a:pPr>
            <a:endParaRPr lang="pt-BR" sz="1200" i="1" dirty="0" smtClean="0">
              <a:solidFill>
                <a:prstClr val="black"/>
              </a:solidFill>
            </a:endParaRPr>
          </a:p>
        </p:txBody>
      </p:sp>
      <p:sp>
        <p:nvSpPr>
          <p:cNvPr id="4" name="CaixaDeTexto 3"/>
          <p:cNvSpPr txBox="1"/>
          <p:nvPr userDrawn="1"/>
        </p:nvSpPr>
        <p:spPr>
          <a:xfrm>
            <a:off x="8552303" y="4929809"/>
            <a:ext cx="398207" cy="1625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800">
              <a:lnSpc>
                <a:spcPts val="1350"/>
              </a:lnSpc>
              <a:spcBef>
                <a:spcPts val="600"/>
              </a:spcBef>
            </a:pPr>
            <a:fld id="{D4D58D87-8487-4709-9825-59DEF4D6437F}" type="slidenum">
              <a:rPr lang="pt-BR" sz="900" i="1" smtClean="0">
                <a:solidFill>
                  <a:prstClr val="black"/>
                </a:solidFill>
              </a:rPr>
              <a:pPr defTabSz="685800">
                <a:lnSpc>
                  <a:spcPts val="1350"/>
                </a:lnSpc>
                <a:spcBef>
                  <a:spcPts val="600"/>
                </a:spcBef>
              </a:pPr>
              <a:t>‹nº›</a:t>
            </a:fld>
            <a:endParaRPr lang="pt-BR" sz="900" i="1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812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 lIns="68580" tIns="34290" rIns="68580" bIns="34290"/>
          <a:lstStyle/>
          <a:p>
            <a:pPr algn="ctr" defTabSz="457189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7189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684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 lIns="68580" tIns="34290" rIns="68580" bIns="34290"/>
          <a:lstStyle/>
          <a:p>
            <a:pPr algn="ctr" defTabSz="457189"/>
            <a:fld id="{B2531E6E-6E7D-4785-BFDF-BAABB6C6AA33}" type="slidenum">
              <a:rPr lang="pt-BR" sz="1400" smtClean="0">
                <a:solidFill>
                  <a:prstClr val="black"/>
                </a:solidFill>
              </a:rPr>
              <a:pPr algn="ctr" defTabSz="457189"/>
              <a:t>‹nº›</a:t>
            </a:fld>
            <a:endParaRPr lang="pt-B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523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3044332"/>
      </p:ext>
    </p:extLst>
  </p:cSld>
  <p:clrMapOvr>
    <a:masterClrMapping/>
  </p:clrMapOvr>
  <p:transition advClick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3" y="176151"/>
            <a:ext cx="827576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itle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</a:t>
            </a:r>
            <a:endParaRPr lang="pt-BR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57572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pPr defTabSz="685800"/>
            <a:fld id="{A8A24E33-00BC-4680-9BB0-2C6DF69D59D1}" type="datetimeFigureOut">
              <a:rPr lang="pt-BR" sz="1400" smtClean="0">
                <a:solidFill>
                  <a:prstClr val="black"/>
                </a:solidFill>
              </a:rPr>
              <a:pPr defTabSz="685800"/>
              <a:t>07/08/2017</a:t>
            </a:fld>
            <a:endParaRPr lang="pt-BR" sz="1400">
              <a:solidFill>
                <a:prstClr val="black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pPr defTabSz="685800"/>
            <a:endParaRPr lang="pt-BR" sz="1400">
              <a:solidFill>
                <a:prstClr val="black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pPr defTabSz="685800"/>
            <a:fld id="{638FB022-31A3-4728-AE1E-A03F501DC4DC}" type="slidenum">
              <a:rPr lang="pt-BR" sz="1400" smtClean="0">
                <a:solidFill>
                  <a:prstClr val="black"/>
                </a:solidFill>
              </a:rPr>
              <a:pPr defTabSz="685800"/>
              <a:t>‹nº›</a:t>
            </a:fld>
            <a:endParaRPr lang="pt-BR" sz="1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55323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8306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 defTabSz="457200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200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825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 defTabSz="457200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457200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440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 userDrawn="1"/>
        </p:nvSpPr>
        <p:spPr>
          <a:xfrm>
            <a:off x="8468187" y="4840357"/>
            <a:ext cx="566531" cy="1789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018">
              <a:lnSpc>
                <a:spcPts val="1350"/>
              </a:lnSpc>
              <a:spcBef>
                <a:spcPts val="600"/>
              </a:spcBef>
            </a:pPr>
            <a:endParaRPr lang="pt-BR" sz="1200" i="1" dirty="0" smtClean="0">
              <a:solidFill>
                <a:prstClr val="black"/>
              </a:solidFill>
            </a:endParaRPr>
          </a:p>
        </p:txBody>
      </p:sp>
      <p:sp>
        <p:nvSpPr>
          <p:cNvPr id="4" name="CaixaDeTexto 3"/>
          <p:cNvSpPr txBox="1"/>
          <p:nvPr userDrawn="1"/>
        </p:nvSpPr>
        <p:spPr>
          <a:xfrm>
            <a:off x="8552349" y="4929855"/>
            <a:ext cx="398207" cy="1625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018">
              <a:lnSpc>
                <a:spcPts val="1350"/>
              </a:lnSpc>
              <a:spcBef>
                <a:spcPts val="600"/>
              </a:spcBef>
            </a:pPr>
            <a:fld id="{D4D58D87-8487-4709-9825-59DEF4D6437F}" type="slidenum">
              <a:rPr lang="pt-BR" sz="900" i="1" smtClean="0">
                <a:solidFill>
                  <a:prstClr val="black"/>
                </a:solidFill>
              </a:rPr>
              <a:pPr defTabSz="685018">
                <a:lnSpc>
                  <a:spcPts val="1350"/>
                </a:lnSpc>
                <a:spcBef>
                  <a:spcPts val="600"/>
                </a:spcBef>
              </a:pPr>
              <a:t>‹nº›</a:t>
            </a:fld>
            <a:endParaRPr lang="pt-BR" sz="900" i="1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822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4.png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4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49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55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4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68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4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slideLayout" Target="../slideLayouts/slideLayout77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theme" Target="../theme/theme19.xml"/><Relationship Id="rId5" Type="http://schemas.openxmlformats.org/officeDocument/2006/relationships/slideLayout" Target="../slideLayouts/slideLayout79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78.xml"/><Relationship Id="rId9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slideLayout" Target="../slideLayouts/slideLayout82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84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83.xml"/><Relationship Id="rId9" Type="http://schemas.openxmlformats.org/officeDocument/2006/relationships/oleObject" Target="../embeddings/oleObject5.bin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theme" Target="../theme/theme21.xml"/><Relationship Id="rId5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8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2.xml"/><Relationship Id="rId7" Type="http://schemas.openxmlformats.org/officeDocument/2006/relationships/theme" Target="../theme/theme22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8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1.xml"/><Relationship Id="rId7" Type="http://schemas.openxmlformats.org/officeDocument/2006/relationships/theme" Target="../theme/theme24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102.xml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7.xml"/><Relationship Id="rId7" Type="http://schemas.openxmlformats.org/officeDocument/2006/relationships/theme" Target="../theme/theme25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8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3.xml"/><Relationship Id="rId7" Type="http://schemas.openxmlformats.org/officeDocument/2006/relationships/theme" Target="../theme/theme26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14.xml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9.xml"/><Relationship Id="rId7" Type="http://schemas.openxmlformats.org/officeDocument/2006/relationships/theme" Target="../theme/theme27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20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5.xml"/><Relationship Id="rId7" Type="http://schemas.openxmlformats.org/officeDocument/2006/relationships/theme" Target="../theme/theme28.xml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6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5" Type="http://schemas.openxmlformats.org/officeDocument/2006/relationships/theme" Target="../theme/theme29.xml"/><Relationship Id="rId4" Type="http://schemas.openxmlformats.org/officeDocument/2006/relationships/slideLayout" Target="../slideLayouts/slideLayout13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4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slideLayout" Target="../slideLayouts/slideLayout135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theme" Target="../theme/theme30.xml"/><Relationship Id="rId5" Type="http://schemas.openxmlformats.org/officeDocument/2006/relationships/slideLayout" Target="../slideLayouts/slideLayout137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136.xml"/><Relationship Id="rId9" Type="http://schemas.openxmlformats.org/officeDocument/2006/relationships/oleObject" Target="../embeddings/oleObject9.bin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theme" Target="../theme/theme31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41.xml"/><Relationship Id="rId9" Type="http://schemas.openxmlformats.org/officeDocument/2006/relationships/image" Target="../media/image1.jpeg"/></Relationships>
</file>

<file path=ppt/slideMasters/_rels/slideMaster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5" Type="http://schemas.openxmlformats.org/officeDocument/2006/relationships/theme" Target="../theme/theme32.xml"/><Relationship Id="rId4" Type="http://schemas.openxmlformats.org/officeDocument/2006/relationships/slideLayout" Target="../slideLayouts/slideLayout148.xml"/></Relationships>
</file>

<file path=ppt/slideMasters/_rels/slideMaster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49.xml"/><Relationship Id="rId4" Type="http://schemas.openxmlformats.org/officeDocument/2006/relationships/theme" Target="../theme/theme33.xml"/></Relationships>
</file>

<file path=ppt/slideMasters/_rels/slideMaster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5" Type="http://schemas.openxmlformats.org/officeDocument/2006/relationships/theme" Target="../theme/theme34.xml"/><Relationship Id="rId4" Type="http://schemas.openxmlformats.org/officeDocument/2006/relationships/slideLayout" Target="../slideLayouts/slideLayout155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theme" Target="../theme/theme35.xml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/Relationships>
</file>

<file path=ppt/slideMasters/_rels/slideMaster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0.xml"/><Relationship Id="rId2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68.xml"/><Relationship Id="rId5" Type="http://schemas.openxmlformats.org/officeDocument/2006/relationships/theme" Target="../theme/theme36.xml"/><Relationship Id="rId4" Type="http://schemas.openxmlformats.org/officeDocument/2006/relationships/slideLayout" Target="../slideLayouts/slideLayout171.xml"/></Relationships>
</file>

<file path=ppt/slideMasters/_rels/slideMaster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4.xml"/><Relationship Id="rId2" Type="http://schemas.openxmlformats.org/officeDocument/2006/relationships/slideLayout" Target="../slideLayouts/slideLayout173.xml"/><Relationship Id="rId1" Type="http://schemas.openxmlformats.org/officeDocument/2006/relationships/slideLayout" Target="../slideLayouts/slideLayout172.xml"/><Relationship Id="rId5" Type="http://schemas.openxmlformats.org/officeDocument/2006/relationships/theme" Target="../theme/theme37.xml"/><Relationship Id="rId4" Type="http://schemas.openxmlformats.org/officeDocument/2006/relationships/slideLayout" Target="../slideLayouts/slideLayout175.xml"/></Relationships>
</file>

<file path=ppt/slideMasters/_rels/slideMaster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8.xml"/><Relationship Id="rId2" Type="http://schemas.openxmlformats.org/officeDocument/2006/relationships/slideLayout" Target="../slideLayouts/slideLayout177.xml"/><Relationship Id="rId1" Type="http://schemas.openxmlformats.org/officeDocument/2006/relationships/slideLayout" Target="../slideLayouts/slideLayout176.xml"/><Relationship Id="rId5" Type="http://schemas.openxmlformats.org/officeDocument/2006/relationships/theme" Target="../theme/theme38.xml"/><Relationship Id="rId4" Type="http://schemas.openxmlformats.org/officeDocument/2006/relationships/slideLayout" Target="../slideLayouts/slideLayout179.xml"/></Relationships>
</file>

<file path=ppt/slideMasters/_rels/slideMaster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2.xml"/><Relationship Id="rId2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80.xml"/><Relationship Id="rId5" Type="http://schemas.openxmlformats.org/officeDocument/2006/relationships/theme" Target="../theme/theme39.xml"/><Relationship Id="rId4" Type="http://schemas.openxmlformats.org/officeDocument/2006/relationships/slideLayout" Target="../slideLayouts/slideLayout18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_rels/slideMaster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6.xml"/><Relationship Id="rId2" Type="http://schemas.openxmlformats.org/officeDocument/2006/relationships/slideLayout" Target="../slideLayouts/slideLayout185.xml"/><Relationship Id="rId1" Type="http://schemas.openxmlformats.org/officeDocument/2006/relationships/slideLayout" Target="../slideLayouts/slideLayout184.xml"/><Relationship Id="rId5" Type="http://schemas.openxmlformats.org/officeDocument/2006/relationships/theme" Target="../theme/theme40.xml"/><Relationship Id="rId4" Type="http://schemas.openxmlformats.org/officeDocument/2006/relationships/slideLayout" Target="../slideLayouts/slideLayout187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theme" Target="../theme/theme41.xml"/><Relationship Id="rId3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4.xml"/><Relationship Id="rId2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92.xml"/><Relationship Id="rId4" Type="http://schemas.openxmlformats.org/officeDocument/2006/relationships/slideLayout" Target="../slideLayouts/slideLayout19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50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9"/>
            <a:ext cx="886632" cy="3600984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7" y="1085561"/>
            <a:ext cx="1356004" cy="276997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7" y="538741"/>
            <a:ext cx="1356004" cy="276997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pPr marL="0" marR="0" indent="0" algn="l" defTabSz="456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7" y="1596941"/>
            <a:ext cx="1356004" cy="276997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7" y="2151572"/>
            <a:ext cx="1356004" cy="276997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7" y="2708726"/>
            <a:ext cx="1356004" cy="276997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7" y="3284420"/>
            <a:ext cx="1356004" cy="276997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217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9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6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2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97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7" y="3843097"/>
            <a:ext cx="1356004" cy="276997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9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35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70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5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5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5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70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5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5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5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68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5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5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5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6986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6986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132" indent="-176132" algn="l" defTabSz="456986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3995" indent="0" algn="l" defTabSz="456986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0988" indent="0" algn="l" defTabSz="456986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7989" indent="0" algn="l" defTabSz="456986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3466" indent="-228492" algn="l" defTabSz="45698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68" indent="-228492" algn="l" defTabSz="45698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61" indent="-228492" algn="l" defTabSz="45698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54" indent="-228492" algn="l" defTabSz="45698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86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95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8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89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74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0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60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54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uias V"/>
          <p:cNvGrpSpPr>
            <a:grpSpLocks/>
          </p:cNvGrpSpPr>
          <p:nvPr/>
        </p:nvGrpSpPr>
        <p:grpSpPr bwMode="auto">
          <a:xfrm>
            <a:off x="576263" y="-49213"/>
            <a:ext cx="8002587" cy="36513"/>
            <a:chOff x="576000" y="-48469"/>
            <a:chExt cx="8002160" cy="36000"/>
          </a:xfrm>
        </p:grpSpPr>
        <p:sp>
          <p:nvSpPr>
            <p:cNvPr id="253" name="Rectangle 252"/>
            <p:cNvSpPr/>
            <p:nvPr userDrawn="1"/>
          </p:nvSpPr>
          <p:spPr>
            <a:xfrm>
              <a:off x="7317752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54" name="Rectangle 253"/>
            <p:cNvSpPr/>
            <p:nvPr userDrawn="1"/>
          </p:nvSpPr>
          <p:spPr>
            <a:xfrm>
              <a:off x="5970037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55" name="Rectangle 254"/>
            <p:cNvSpPr/>
            <p:nvPr userDrawn="1"/>
          </p:nvSpPr>
          <p:spPr>
            <a:xfrm>
              <a:off x="4620734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56" name="Rectangle 255"/>
            <p:cNvSpPr/>
            <p:nvPr userDrawn="1"/>
          </p:nvSpPr>
          <p:spPr>
            <a:xfrm>
              <a:off x="3273018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57" name="Rectangle 256"/>
            <p:cNvSpPr/>
            <p:nvPr userDrawn="1"/>
          </p:nvSpPr>
          <p:spPr>
            <a:xfrm>
              <a:off x="1923715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58" name="Rectangle 257"/>
            <p:cNvSpPr/>
            <p:nvPr userDrawn="1"/>
          </p:nvSpPr>
          <p:spPr>
            <a:xfrm>
              <a:off x="576000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027" name="Guias H"/>
          <p:cNvGrpSpPr>
            <a:grpSpLocks/>
          </p:cNvGrpSpPr>
          <p:nvPr/>
        </p:nvGrpSpPr>
        <p:grpSpPr bwMode="auto">
          <a:xfrm>
            <a:off x="-46038" y="323852"/>
            <a:ext cx="33338" cy="4498975"/>
            <a:chOff x="-45868" y="323999"/>
            <a:chExt cx="33137" cy="4499598"/>
          </a:xfrm>
        </p:grpSpPr>
        <p:sp>
          <p:nvSpPr>
            <p:cNvPr id="211" name="Rectangle 210"/>
            <p:cNvSpPr/>
            <p:nvPr userDrawn="1"/>
          </p:nvSpPr>
          <p:spPr>
            <a:xfrm>
              <a:off x="-45868" y="323999"/>
              <a:ext cx="33137" cy="50330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28" name="Rectangle 227"/>
            <p:cNvSpPr/>
            <p:nvPr userDrawn="1"/>
          </p:nvSpPr>
          <p:spPr>
            <a:xfrm>
              <a:off x="-45868" y="917806"/>
              <a:ext cx="33137" cy="57634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30" name="Rectangle 229"/>
            <p:cNvSpPr/>
            <p:nvPr userDrawn="1"/>
          </p:nvSpPr>
          <p:spPr>
            <a:xfrm>
              <a:off x="-45868" y="1584649"/>
              <a:ext cx="33137" cy="5747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32" name="Rectangle 231"/>
            <p:cNvSpPr/>
            <p:nvPr userDrawn="1"/>
          </p:nvSpPr>
          <p:spPr>
            <a:xfrm>
              <a:off x="-45868" y="2249904"/>
              <a:ext cx="33137" cy="57634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34" name="Rectangle 233"/>
            <p:cNvSpPr/>
            <p:nvPr userDrawn="1"/>
          </p:nvSpPr>
          <p:spPr>
            <a:xfrm>
              <a:off x="-45868" y="2915158"/>
              <a:ext cx="33137" cy="57634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36" name="Rectangle 235"/>
            <p:cNvSpPr/>
            <p:nvPr userDrawn="1"/>
          </p:nvSpPr>
          <p:spPr>
            <a:xfrm>
              <a:off x="-45868" y="3582000"/>
              <a:ext cx="33137" cy="57634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66" name="Rectangle 265"/>
            <p:cNvSpPr/>
            <p:nvPr userDrawn="1"/>
          </p:nvSpPr>
          <p:spPr>
            <a:xfrm>
              <a:off x="-45868" y="323999"/>
              <a:ext cx="33137" cy="41439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69" name="Rectangle 268"/>
            <p:cNvSpPr/>
            <p:nvPr userDrawn="1"/>
          </p:nvSpPr>
          <p:spPr>
            <a:xfrm>
              <a:off x="-45868" y="323999"/>
              <a:ext cx="33137" cy="3254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38" name="Rectangle 237"/>
            <p:cNvSpPr/>
            <p:nvPr userDrawn="1"/>
          </p:nvSpPr>
          <p:spPr>
            <a:xfrm flipV="1">
              <a:off x="-45868" y="4247255"/>
              <a:ext cx="33137" cy="576342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370" name="Rectangle 369"/>
            <p:cNvSpPr/>
            <p:nvPr userDrawn="1"/>
          </p:nvSpPr>
          <p:spPr>
            <a:xfrm flipV="1">
              <a:off x="-45868" y="4247255"/>
              <a:ext cx="33137" cy="504895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371" name="Rectangle 370"/>
            <p:cNvSpPr/>
            <p:nvPr userDrawn="1"/>
          </p:nvSpPr>
          <p:spPr>
            <a:xfrm flipV="1">
              <a:off x="-45868" y="4436193"/>
              <a:ext cx="33137" cy="3254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1028" name="TextBox 11"/>
          <p:cNvSpPr txBox="1">
            <a:spLocks noChangeArrowheads="1"/>
          </p:cNvSpPr>
          <p:nvPr/>
        </p:nvSpPr>
        <p:spPr bwMode="auto">
          <a:xfrm>
            <a:off x="11587163" y="614363"/>
            <a:ext cx="914400" cy="6858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9pPr>
          </a:lstStyle>
          <a:p>
            <a:pPr defTabSz="457130" eaLnBrk="1" fontAlgn="base" hangingPunct="1">
              <a:lnSpc>
                <a:spcPts val="1800"/>
              </a:lnSpc>
              <a:spcBef>
                <a:spcPts val="800"/>
              </a:spcBef>
              <a:spcAft>
                <a:spcPct val="0"/>
              </a:spcAft>
              <a:defRPr/>
            </a:pPr>
            <a:endParaRPr lang="pt-BR" altLang="pt-BR" sz="1600" i="1" smtClean="0">
              <a:solidFill>
                <a:prstClr val="black"/>
              </a:solidFill>
            </a:endParaRPr>
          </a:p>
        </p:txBody>
      </p:sp>
      <p:pic>
        <p:nvPicPr>
          <p:cNvPr id="1041" name="Picture 4" descr="OIOIC082.AF.140808.6SIGMA.Cor.Selo.Negativo.Amarelo.RGB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301" y="3633789"/>
            <a:ext cx="2193925" cy="1185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05671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1" r:id="rId2"/>
    <p:sldLayoutId id="2147484062" r:id="rId3"/>
    <p:sldLayoutId id="2147484063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30" rtl="0" eaLnBrk="0" fontAlgn="base" hangingPunct="0">
        <a:lnSpc>
          <a:spcPts val="2400"/>
        </a:lnSpc>
        <a:spcBef>
          <a:spcPts val="1100"/>
        </a:spcBef>
        <a:spcAft>
          <a:spcPct val="0"/>
        </a:spcAft>
        <a:defRPr sz="2200" i="1" kern="1200">
          <a:solidFill>
            <a:schemeClr val="tx1"/>
          </a:solidFill>
          <a:latin typeface="+mn-lt"/>
          <a:ea typeface="Arial" pitchFamily="-1" charset="0"/>
          <a:cs typeface="Arial"/>
        </a:defRPr>
      </a:lvl1pPr>
      <a:lvl2pPr algn="l" defTabSz="457130" rtl="0" eaLnBrk="0" fontAlgn="base" hangingPunct="0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ea typeface="Arial" pitchFamily="-1" charset="0"/>
          <a:cs typeface="Arial" pitchFamily="34" charset="0"/>
        </a:defRPr>
      </a:lvl2pPr>
      <a:lvl3pPr algn="l" defTabSz="457130" rtl="0" eaLnBrk="0" fontAlgn="base" hangingPunct="0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ea typeface="Arial" pitchFamily="-1" charset="0"/>
          <a:cs typeface="Arial" pitchFamily="34" charset="0"/>
        </a:defRPr>
      </a:lvl3pPr>
      <a:lvl4pPr algn="l" defTabSz="457130" rtl="0" eaLnBrk="0" fontAlgn="base" hangingPunct="0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ea typeface="Arial" pitchFamily="-1" charset="0"/>
          <a:cs typeface="Arial" pitchFamily="34" charset="0"/>
        </a:defRPr>
      </a:lvl4pPr>
      <a:lvl5pPr algn="l" defTabSz="457130" rtl="0" eaLnBrk="0" fontAlgn="base" hangingPunct="0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ea typeface="Arial" pitchFamily="-1" charset="0"/>
          <a:cs typeface="Arial" pitchFamily="34" charset="0"/>
        </a:defRPr>
      </a:lvl5pPr>
      <a:lvl6pPr marL="457130" algn="l" defTabSz="45713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6pPr>
      <a:lvl7pPr marL="914265" algn="l" defTabSz="45713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7pPr>
      <a:lvl8pPr marL="1371396" algn="l" defTabSz="45713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8pPr>
      <a:lvl9pPr marL="1828529" algn="l" defTabSz="45713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9pPr>
    </p:titleStyle>
    <p:bodyStyle>
      <a:lvl1pPr marL="342848" indent="-342848" algn="l" defTabSz="457130" rtl="0" eaLnBrk="0" fontAlgn="base" hangingPunct="0">
        <a:lnSpc>
          <a:spcPts val="2000"/>
        </a:lnSpc>
        <a:spcBef>
          <a:spcPts val="900"/>
        </a:spcBef>
        <a:spcAft>
          <a:spcPct val="0"/>
        </a:spcAft>
        <a:buFont typeface="Arial" pitchFamily="34" charset="0"/>
        <a:defRPr kern="1200">
          <a:solidFill>
            <a:schemeClr val="tx1"/>
          </a:solidFill>
          <a:latin typeface="Museo Sans 300"/>
          <a:ea typeface="Museo Sans 300"/>
          <a:cs typeface="Museo Sans 300"/>
        </a:defRPr>
      </a:lvl1pPr>
      <a:lvl2pPr marL="176186" indent="-176186" algn="l" defTabSz="457130" rtl="0" eaLnBrk="0" fontAlgn="base" hangingPunct="0">
        <a:lnSpc>
          <a:spcPts val="2000"/>
        </a:lnSpc>
        <a:spcBef>
          <a:spcPts val="900"/>
        </a:spcBef>
        <a:spcAft>
          <a:spcPct val="0"/>
        </a:spcAft>
        <a:buSzPct val="50000"/>
        <a:buFont typeface="Arial" pitchFamily="34" charset="0"/>
        <a:buChar char="•"/>
        <a:defRPr kern="1200">
          <a:solidFill>
            <a:schemeClr val="tx1"/>
          </a:solidFill>
          <a:latin typeface="Museo Sans 300"/>
          <a:ea typeface="Museo Sans 300"/>
          <a:cs typeface="Museo Sans 300"/>
        </a:defRPr>
      </a:lvl2pPr>
      <a:lvl3pPr marL="914265" algn="l" defTabSz="457130" rtl="0" eaLnBrk="0" fontAlgn="base" hangingPunct="0">
        <a:lnSpc>
          <a:spcPts val="2200"/>
        </a:lnSpc>
        <a:spcBef>
          <a:spcPct val="0"/>
        </a:spcBef>
        <a:spcAft>
          <a:spcPct val="0"/>
        </a:spcAft>
        <a:buFont typeface="Arial" pitchFamily="34" charset="0"/>
        <a:defRPr sz="1600" kern="1200">
          <a:solidFill>
            <a:schemeClr val="tx1"/>
          </a:solidFill>
          <a:latin typeface="Museo Sans 300"/>
          <a:ea typeface="Museo Sans 300"/>
          <a:cs typeface="Museo Sans 300"/>
        </a:defRPr>
      </a:lvl3pPr>
      <a:lvl4pPr marL="1371396" algn="l" defTabSz="457130" rtl="0" eaLnBrk="0" fontAlgn="base" hangingPunct="0">
        <a:lnSpc>
          <a:spcPts val="2200"/>
        </a:lnSpc>
        <a:spcBef>
          <a:spcPct val="0"/>
        </a:spcBef>
        <a:spcAft>
          <a:spcPct val="0"/>
        </a:spcAft>
        <a:buFont typeface="Arial" pitchFamily="34" charset="0"/>
        <a:defRPr sz="1400" kern="1200">
          <a:solidFill>
            <a:schemeClr val="tx1"/>
          </a:solidFill>
          <a:latin typeface="Museo Sans 300"/>
          <a:ea typeface="Museo Sans 300"/>
          <a:cs typeface="Museo Sans 300"/>
        </a:defRPr>
      </a:lvl4pPr>
      <a:lvl5pPr marL="1828529" algn="l" defTabSz="457130" rtl="0" eaLnBrk="0" fontAlgn="base" hangingPunct="0">
        <a:lnSpc>
          <a:spcPts val="2200"/>
        </a:lnSpc>
        <a:spcBef>
          <a:spcPct val="0"/>
        </a:spcBef>
        <a:spcAft>
          <a:spcPct val="0"/>
        </a:spcAft>
        <a:buFont typeface="Arial" pitchFamily="34" charset="0"/>
        <a:defRPr sz="1400" kern="1200">
          <a:solidFill>
            <a:schemeClr val="tx1"/>
          </a:solidFill>
          <a:latin typeface="Museo Sans 300"/>
          <a:ea typeface="Museo Sans 300"/>
          <a:cs typeface="Museo Sans 300"/>
        </a:defRPr>
      </a:lvl5pPr>
      <a:lvl6pPr marL="2514222" indent="-228564" algn="l" defTabSz="45713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6" indent="-228564" algn="l" defTabSz="45713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7" indent="-228564" algn="l" defTabSz="45713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8" indent="-228564" algn="l" defTabSz="45713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0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5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6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9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8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2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uias V"/>
          <p:cNvGrpSpPr>
            <a:grpSpLocks/>
          </p:cNvGrpSpPr>
          <p:nvPr/>
        </p:nvGrpSpPr>
        <p:grpSpPr bwMode="auto">
          <a:xfrm>
            <a:off x="576263" y="-49213"/>
            <a:ext cx="8002587" cy="36513"/>
            <a:chOff x="576000" y="-48469"/>
            <a:chExt cx="8002160" cy="36000"/>
          </a:xfrm>
        </p:grpSpPr>
        <p:sp>
          <p:nvSpPr>
            <p:cNvPr id="253" name="Rectangle 252"/>
            <p:cNvSpPr/>
            <p:nvPr userDrawn="1"/>
          </p:nvSpPr>
          <p:spPr>
            <a:xfrm>
              <a:off x="7317752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54" name="Rectangle 253"/>
            <p:cNvSpPr/>
            <p:nvPr userDrawn="1"/>
          </p:nvSpPr>
          <p:spPr>
            <a:xfrm>
              <a:off x="5970037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55" name="Rectangle 254"/>
            <p:cNvSpPr/>
            <p:nvPr userDrawn="1"/>
          </p:nvSpPr>
          <p:spPr>
            <a:xfrm>
              <a:off x="4620734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56" name="Rectangle 255"/>
            <p:cNvSpPr/>
            <p:nvPr userDrawn="1"/>
          </p:nvSpPr>
          <p:spPr>
            <a:xfrm>
              <a:off x="3273018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57" name="Rectangle 256"/>
            <p:cNvSpPr/>
            <p:nvPr userDrawn="1"/>
          </p:nvSpPr>
          <p:spPr>
            <a:xfrm>
              <a:off x="1923715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58" name="Rectangle 257"/>
            <p:cNvSpPr/>
            <p:nvPr userDrawn="1"/>
          </p:nvSpPr>
          <p:spPr>
            <a:xfrm>
              <a:off x="576000" y="-48469"/>
              <a:ext cx="1260408" cy="3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027" name="Guias H"/>
          <p:cNvGrpSpPr>
            <a:grpSpLocks/>
          </p:cNvGrpSpPr>
          <p:nvPr/>
        </p:nvGrpSpPr>
        <p:grpSpPr bwMode="auto">
          <a:xfrm>
            <a:off x="-46038" y="323852"/>
            <a:ext cx="33338" cy="4498975"/>
            <a:chOff x="-45868" y="323999"/>
            <a:chExt cx="33137" cy="4499598"/>
          </a:xfrm>
        </p:grpSpPr>
        <p:sp>
          <p:nvSpPr>
            <p:cNvPr id="211" name="Rectangle 210"/>
            <p:cNvSpPr/>
            <p:nvPr userDrawn="1"/>
          </p:nvSpPr>
          <p:spPr>
            <a:xfrm>
              <a:off x="-45868" y="323999"/>
              <a:ext cx="33137" cy="50330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28" name="Rectangle 227"/>
            <p:cNvSpPr/>
            <p:nvPr userDrawn="1"/>
          </p:nvSpPr>
          <p:spPr>
            <a:xfrm>
              <a:off x="-45868" y="917806"/>
              <a:ext cx="33137" cy="57634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30" name="Rectangle 229"/>
            <p:cNvSpPr/>
            <p:nvPr userDrawn="1"/>
          </p:nvSpPr>
          <p:spPr>
            <a:xfrm>
              <a:off x="-45868" y="1584649"/>
              <a:ext cx="33137" cy="5747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32" name="Rectangle 231"/>
            <p:cNvSpPr/>
            <p:nvPr userDrawn="1"/>
          </p:nvSpPr>
          <p:spPr>
            <a:xfrm>
              <a:off x="-45868" y="2249904"/>
              <a:ext cx="33137" cy="57634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34" name="Rectangle 233"/>
            <p:cNvSpPr/>
            <p:nvPr userDrawn="1"/>
          </p:nvSpPr>
          <p:spPr>
            <a:xfrm>
              <a:off x="-45868" y="2915158"/>
              <a:ext cx="33137" cy="57634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36" name="Rectangle 235"/>
            <p:cNvSpPr/>
            <p:nvPr userDrawn="1"/>
          </p:nvSpPr>
          <p:spPr>
            <a:xfrm>
              <a:off x="-45868" y="3582000"/>
              <a:ext cx="33137" cy="57634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66" name="Rectangle 265"/>
            <p:cNvSpPr/>
            <p:nvPr userDrawn="1"/>
          </p:nvSpPr>
          <p:spPr>
            <a:xfrm>
              <a:off x="-45868" y="323999"/>
              <a:ext cx="33137" cy="41439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69" name="Rectangle 268"/>
            <p:cNvSpPr/>
            <p:nvPr userDrawn="1"/>
          </p:nvSpPr>
          <p:spPr>
            <a:xfrm>
              <a:off x="-45868" y="323999"/>
              <a:ext cx="33137" cy="3254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238" name="Rectangle 237"/>
            <p:cNvSpPr/>
            <p:nvPr userDrawn="1"/>
          </p:nvSpPr>
          <p:spPr>
            <a:xfrm flipV="1">
              <a:off x="-45868" y="4247255"/>
              <a:ext cx="33137" cy="576342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370" name="Rectangle 369"/>
            <p:cNvSpPr/>
            <p:nvPr userDrawn="1"/>
          </p:nvSpPr>
          <p:spPr>
            <a:xfrm flipV="1">
              <a:off x="-45868" y="4247255"/>
              <a:ext cx="33137" cy="504895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  <p:sp>
          <p:nvSpPr>
            <p:cNvPr id="371" name="Rectangle 370"/>
            <p:cNvSpPr/>
            <p:nvPr userDrawn="1"/>
          </p:nvSpPr>
          <p:spPr>
            <a:xfrm flipV="1">
              <a:off x="-45868" y="4436193"/>
              <a:ext cx="33137" cy="3254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defRPr>
              </a:lvl9pPr>
            </a:lstStyle>
            <a:p>
              <a:pPr algn="ctr" defTabSz="457130" eaLnBrk="1" fontAlgn="base" hangingPunct="1">
                <a:lnSpc>
                  <a:spcPts val="2000"/>
                </a:lnSpc>
                <a:spcBef>
                  <a:spcPts val="900"/>
                </a:spcBef>
                <a:spcAft>
                  <a:spcPct val="0"/>
                </a:spcAft>
                <a:defRPr/>
              </a:pPr>
              <a:endParaRPr lang="pt-BR" altLang="pt-BR" sz="1800" i="1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1028" name="TextBox 11"/>
          <p:cNvSpPr txBox="1">
            <a:spLocks noChangeArrowheads="1"/>
          </p:cNvSpPr>
          <p:nvPr/>
        </p:nvSpPr>
        <p:spPr bwMode="auto">
          <a:xfrm>
            <a:off x="11587163" y="614363"/>
            <a:ext cx="914400" cy="6858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9pPr>
          </a:lstStyle>
          <a:p>
            <a:pPr defTabSz="457130" eaLnBrk="1" fontAlgn="base" hangingPunct="1">
              <a:lnSpc>
                <a:spcPts val="1800"/>
              </a:lnSpc>
              <a:spcBef>
                <a:spcPts val="800"/>
              </a:spcBef>
              <a:spcAft>
                <a:spcPct val="0"/>
              </a:spcAft>
              <a:defRPr/>
            </a:pPr>
            <a:endParaRPr lang="pt-BR" altLang="pt-BR" sz="1600" i="1" smtClean="0">
              <a:solidFill>
                <a:prstClr val="black"/>
              </a:solidFill>
            </a:endParaRPr>
          </a:p>
        </p:txBody>
      </p:sp>
      <p:pic>
        <p:nvPicPr>
          <p:cNvPr id="1041" name="Picture 4" descr="OIOIC082.AF.140808.6SIGMA.Cor.Selo.Negativo.Amarelo.RGB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301" y="3633789"/>
            <a:ext cx="2193925" cy="1185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6860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5" r:id="rId1"/>
    <p:sldLayoutId id="2147484066" r:id="rId2"/>
    <p:sldLayoutId id="2147484067" r:id="rId3"/>
    <p:sldLayoutId id="2147484068" r:id="rId4"/>
    <p:sldLayoutId id="2147484069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30" rtl="0" eaLnBrk="0" fontAlgn="base" hangingPunct="0">
        <a:lnSpc>
          <a:spcPts val="2400"/>
        </a:lnSpc>
        <a:spcBef>
          <a:spcPts val="1100"/>
        </a:spcBef>
        <a:spcAft>
          <a:spcPct val="0"/>
        </a:spcAft>
        <a:defRPr sz="2200" i="1" kern="1200">
          <a:solidFill>
            <a:schemeClr val="tx1"/>
          </a:solidFill>
          <a:latin typeface="+mn-lt"/>
          <a:ea typeface="Arial" pitchFamily="-1" charset="0"/>
          <a:cs typeface="Arial"/>
        </a:defRPr>
      </a:lvl1pPr>
      <a:lvl2pPr algn="l" defTabSz="457130" rtl="0" eaLnBrk="0" fontAlgn="base" hangingPunct="0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ea typeface="Arial" pitchFamily="-1" charset="0"/>
          <a:cs typeface="Arial" pitchFamily="34" charset="0"/>
        </a:defRPr>
      </a:lvl2pPr>
      <a:lvl3pPr algn="l" defTabSz="457130" rtl="0" eaLnBrk="0" fontAlgn="base" hangingPunct="0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ea typeface="Arial" pitchFamily="-1" charset="0"/>
          <a:cs typeface="Arial" pitchFamily="34" charset="0"/>
        </a:defRPr>
      </a:lvl3pPr>
      <a:lvl4pPr algn="l" defTabSz="457130" rtl="0" eaLnBrk="0" fontAlgn="base" hangingPunct="0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ea typeface="Arial" pitchFamily="-1" charset="0"/>
          <a:cs typeface="Arial" pitchFamily="34" charset="0"/>
        </a:defRPr>
      </a:lvl4pPr>
      <a:lvl5pPr algn="l" defTabSz="457130" rtl="0" eaLnBrk="0" fontAlgn="base" hangingPunct="0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ea typeface="Arial" pitchFamily="-1" charset="0"/>
          <a:cs typeface="Arial" pitchFamily="34" charset="0"/>
        </a:defRPr>
      </a:lvl5pPr>
      <a:lvl6pPr marL="457130" algn="l" defTabSz="45713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6pPr>
      <a:lvl7pPr marL="914265" algn="l" defTabSz="45713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7pPr>
      <a:lvl8pPr marL="1371396" algn="l" defTabSz="45713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8pPr>
      <a:lvl9pPr marL="1828529" algn="l" defTabSz="45713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9pPr>
    </p:titleStyle>
    <p:bodyStyle>
      <a:lvl1pPr marL="342848" indent="-342848" algn="l" defTabSz="457130" rtl="0" eaLnBrk="0" fontAlgn="base" hangingPunct="0">
        <a:lnSpc>
          <a:spcPts val="2000"/>
        </a:lnSpc>
        <a:spcBef>
          <a:spcPts val="900"/>
        </a:spcBef>
        <a:spcAft>
          <a:spcPct val="0"/>
        </a:spcAft>
        <a:buFont typeface="Arial" pitchFamily="34" charset="0"/>
        <a:defRPr kern="1200">
          <a:solidFill>
            <a:schemeClr val="tx1"/>
          </a:solidFill>
          <a:latin typeface="Museo Sans 300"/>
          <a:ea typeface="Museo Sans 300"/>
          <a:cs typeface="Museo Sans 300"/>
        </a:defRPr>
      </a:lvl1pPr>
      <a:lvl2pPr marL="176186" indent="-176186" algn="l" defTabSz="457130" rtl="0" eaLnBrk="0" fontAlgn="base" hangingPunct="0">
        <a:lnSpc>
          <a:spcPts val="2000"/>
        </a:lnSpc>
        <a:spcBef>
          <a:spcPts val="900"/>
        </a:spcBef>
        <a:spcAft>
          <a:spcPct val="0"/>
        </a:spcAft>
        <a:buSzPct val="50000"/>
        <a:buFont typeface="Arial" pitchFamily="34" charset="0"/>
        <a:buChar char="•"/>
        <a:defRPr kern="1200">
          <a:solidFill>
            <a:schemeClr val="tx1"/>
          </a:solidFill>
          <a:latin typeface="Museo Sans 300"/>
          <a:ea typeface="Museo Sans 300"/>
          <a:cs typeface="Museo Sans 300"/>
        </a:defRPr>
      </a:lvl2pPr>
      <a:lvl3pPr marL="914265" algn="l" defTabSz="457130" rtl="0" eaLnBrk="0" fontAlgn="base" hangingPunct="0">
        <a:lnSpc>
          <a:spcPts val="2200"/>
        </a:lnSpc>
        <a:spcBef>
          <a:spcPct val="0"/>
        </a:spcBef>
        <a:spcAft>
          <a:spcPct val="0"/>
        </a:spcAft>
        <a:buFont typeface="Arial" pitchFamily="34" charset="0"/>
        <a:defRPr sz="1600" kern="1200">
          <a:solidFill>
            <a:schemeClr val="tx1"/>
          </a:solidFill>
          <a:latin typeface="Museo Sans 300"/>
          <a:ea typeface="Museo Sans 300"/>
          <a:cs typeface="Museo Sans 300"/>
        </a:defRPr>
      </a:lvl3pPr>
      <a:lvl4pPr marL="1371396" algn="l" defTabSz="457130" rtl="0" eaLnBrk="0" fontAlgn="base" hangingPunct="0">
        <a:lnSpc>
          <a:spcPts val="2200"/>
        </a:lnSpc>
        <a:spcBef>
          <a:spcPct val="0"/>
        </a:spcBef>
        <a:spcAft>
          <a:spcPct val="0"/>
        </a:spcAft>
        <a:buFont typeface="Arial" pitchFamily="34" charset="0"/>
        <a:defRPr sz="1400" kern="1200">
          <a:solidFill>
            <a:schemeClr val="tx1"/>
          </a:solidFill>
          <a:latin typeface="Museo Sans 300"/>
          <a:ea typeface="Museo Sans 300"/>
          <a:cs typeface="Museo Sans 300"/>
        </a:defRPr>
      </a:lvl4pPr>
      <a:lvl5pPr marL="1828529" algn="l" defTabSz="457130" rtl="0" eaLnBrk="0" fontAlgn="base" hangingPunct="0">
        <a:lnSpc>
          <a:spcPts val="2200"/>
        </a:lnSpc>
        <a:spcBef>
          <a:spcPct val="0"/>
        </a:spcBef>
        <a:spcAft>
          <a:spcPct val="0"/>
        </a:spcAft>
        <a:buFont typeface="Arial" pitchFamily="34" charset="0"/>
        <a:defRPr sz="1400" kern="1200">
          <a:solidFill>
            <a:schemeClr val="tx1"/>
          </a:solidFill>
          <a:latin typeface="Museo Sans 300"/>
          <a:ea typeface="Museo Sans 300"/>
          <a:cs typeface="Museo Sans 300"/>
        </a:defRPr>
      </a:lvl5pPr>
      <a:lvl6pPr marL="2514222" indent="-228564" algn="l" defTabSz="45713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6" indent="-228564" algn="l" defTabSz="45713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7" indent="-228564" algn="l" defTabSz="45713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8" indent="-228564" algn="l" defTabSz="45713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0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5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6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9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8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2" algn="l" defTabSz="457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78">
              <a:lnSpc>
                <a:spcPts val="1800"/>
              </a:lnSpc>
              <a:spcBef>
                <a:spcPts val="800"/>
              </a:spcBef>
            </a:pPr>
            <a:endParaRPr lang="en-US" sz="1600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406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78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178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04" indent="-176204" algn="l" defTabSz="457178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355" indent="0" algn="l" defTabSz="457178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532" indent="0" algn="l" defTabSz="457178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709" indent="0" algn="l" defTabSz="457178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474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7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457189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9"/>
            <a:ext cx="886632" cy="3600986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457189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7" y="1085543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7" y="538723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7" y="1596923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7" y="2151554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7" y="2708710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7" y="3284402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7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7" y="3843079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5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2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2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50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15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9" r:id="rId1"/>
    <p:sldLayoutId id="2147484080" r:id="rId2"/>
    <p:sldLayoutId id="214748408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89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189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09" indent="-176209" algn="l" defTabSz="457189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378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566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754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7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457189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9"/>
            <a:ext cx="886632" cy="3600986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457189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7" y="1085543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7" y="538723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7" y="1596923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7" y="2151554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7" y="2708710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7" y="3284402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7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7" y="3843079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5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2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2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50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663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4" r:id="rId1"/>
    <p:sldLayoutId id="2147484085" r:id="rId2"/>
    <p:sldLayoutId id="2147484086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89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189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09" indent="-176209" algn="l" defTabSz="457189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378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566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754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7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457189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9"/>
            <a:ext cx="886632" cy="3600986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457189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7" y="1085543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7" y="538723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7" y="1596923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7" y="2151554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7" y="2708710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7" y="3284402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7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7" y="3843079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5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2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2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50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150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89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189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09" indent="-176209" algn="l" defTabSz="457189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378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566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754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378"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3089236" y="16497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378"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378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914378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378"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0008318" y="309079"/>
            <a:ext cx="886632" cy="3600986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914378"/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91437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37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378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91437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37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378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91437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37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378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91437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37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378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91437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37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378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914378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37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378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0016847" y="1085545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914378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/>
        </p:nvSpPr>
        <p:spPr>
          <a:xfrm>
            <a:off x="10016847" y="538724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/>
        </p:nvSpPr>
        <p:spPr>
          <a:xfrm>
            <a:off x="10016847" y="1596925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914378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/>
        </p:nvSpPr>
        <p:spPr>
          <a:xfrm>
            <a:off x="10016847" y="2151556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914378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/>
        </p:nvSpPr>
        <p:spPr>
          <a:xfrm>
            <a:off x="10016847" y="2708711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914378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/>
        </p:nvSpPr>
        <p:spPr>
          <a:xfrm>
            <a:off x="10016847" y="3284402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914378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314424" y="305320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9314424" y="250437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9314424" y="195555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9314424" y="140672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9314424" y="85790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9314424" y="30908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0016847" y="3843080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914378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9314424" y="3611877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9314427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378"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378"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553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4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553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4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4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99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3" r:id="rId2"/>
    <p:sldLayoutId id="2147484094" r:id="rId3"/>
    <p:sldLayoutId id="2147484095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89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189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09" indent="-176209" algn="l" defTabSz="457189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378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566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754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3089236" y="16497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457189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0008318" y="309079"/>
            <a:ext cx="886632" cy="3600986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457189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0016847" y="1085543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/>
        </p:nvSpPr>
        <p:spPr>
          <a:xfrm>
            <a:off x="10016847" y="538723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/>
        </p:nvSpPr>
        <p:spPr>
          <a:xfrm>
            <a:off x="10016847" y="1596923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/>
        </p:nvSpPr>
        <p:spPr>
          <a:xfrm>
            <a:off x="10016847" y="2151554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/>
        </p:nvSpPr>
        <p:spPr>
          <a:xfrm>
            <a:off x="10016847" y="2708710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/>
        </p:nvSpPr>
        <p:spPr>
          <a:xfrm>
            <a:off x="10016847" y="3284402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314424" y="305319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9314424" y="25043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9314424" y="195555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9314424" y="1406727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9314424" y="85790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9314424" y="30907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0016847" y="3843079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9314424" y="361187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9314425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552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552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550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19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8" r:id="rId1"/>
    <p:sldLayoutId id="2147484099" r:id="rId2"/>
    <p:sldLayoutId id="2147484100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89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189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09" indent="-176209" algn="l" defTabSz="457189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378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566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754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7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457189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9"/>
            <a:ext cx="886632" cy="3600986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457189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189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7" y="1085543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7" y="538723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7" y="1596923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7" y="2151554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7" y="2708710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7" y="3284402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7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7" y="3843079"/>
            <a:ext cx="1356004" cy="27699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457189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5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189"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2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2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50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924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4" r:id="rId1"/>
    <p:sldLayoutId id="2147484105" r:id="rId2"/>
    <p:sldLayoutId id="2147484106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89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189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09" indent="-176209" algn="l" defTabSz="457189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378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566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754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95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38" name="Slide do think-cell" r:id="rId9" imgW="360" imgH="360" progId="TCLayout.ActiveDocument.1">
                  <p:embed/>
                </p:oleObj>
              </mc:Choice>
              <mc:Fallback>
                <p:oleObj name="Slide do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78809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6917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rgbClr val="FFFFFF"/>
          </a:solidFill>
          <a:latin typeface="Arial"/>
          <a:ea typeface="+mj-ea"/>
          <a:cs typeface="Arial"/>
        </a:defRPr>
      </a:lvl1pPr>
    </p:titleStyle>
    <p:bodyStyle>
      <a:lvl1pPr marL="0" indent="0" algn="l" defTabSz="456917" rtl="0" eaLnBrk="1" latinLnBrk="0" hangingPunct="1">
        <a:spcBef>
          <a:spcPct val="20000"/>
        </a:spcBef>
        <a:buFont typeface="Arial"/>
        <a:buNone/>
        <a:defRPr sz="1500" kern="1200" baseline="0">
          <a:solidFill>
            <a:srgbClr val="FFFFFF"/>
          </a:solidFill>
          <a:latin typeface="Arial"/>
          <a:ea typeface="+mn-ea"/>
          <a:cs typeface="Arial"/>
        </a:defRPr>
      </a:lvl1pPr>
      <a:lvl2pPr marL="456917" indent="0" algn="l" defTabSz="456917" rtl="0" eaLnBrk="1" latinLnBrk="0" hangingPunct="1">
        <a:spcBef>
          <a:spcPct val="20000"/>
        </a:spcBef>
        <a:buFont typeface="Arial"/>
        <a:buNone/>
        <a:defRPr sz="1500" kern="1200">
          <a:solidFill>
            <a:schemeClr val="tx1"/>
          </a:solidFill>
          <a:latin typeface="Arial"/>
          <a:ea typeface="+mn-ea"/>
          <a:cs typeface="Arial"/>
        </a:defRPr>
      </a:lvl2pPr>
      <a:lvl3pPr marL="913835" indent="0" algn="l" defTabSz="456917" rtl="0" eaLnBrk="1" latinLnBrk="0" hangingPunct="1">
        <a:spcBef>
          <a:spcPct val="20000"/>
        </a:spcBef>
        <a:buFont typeface="Arial"/>
        <a:buNone/>
        <a:defRPr sz="1500" kern="1200">
          <a:solidFill>
            <a:schemeClr val="tx1"/>
          </a:solidFill>
          <a:latin typeface="Arial"/>
          <a:ea typeface="+mn-ea"/>
          <a:cs typeface="Arial"/>
        </a:defRPr>
      </a:lvl3pPr>
      <a:lvl4pPr marL="1370752" indent="0" algn="l" defTabSz="456917" rtl="0" eaLnBrk="1" latinLnBrk="0" hangingPunct="1">
        <a:spcBef>
          <a:spcPct val="20000"/>
        </a:spcBef>
        <a:buFont typeface="Arial"/>
        <a:buNone/>
        <a:defRPr sz="1500" kern="1200">
          <a:solidFill>
            <a:schemeClr val="tx1"/>
          </a:solidFill>
          <a:latin typeface="Arial"/>
          <a:ea typeface="+mn-ea"/>
          <a:cs typeface="Arial"/>
        </a:defRPr>
      </a:lvl4pPr>
      <a:lvl5pPr marL="1827668" indent="0" algn="l" defTabSz="456917" rtl="0" eaLnBrk="1" latinLnBrk="0" hangingPunct="1">
        <a:spcBef>
          <a:spcPct val="20000"/>
        </a:spcBef>
        <a:buFont typeface="Arial"/>
        <a:buNone/>
        <a:defRPr sz="1500" kern="1200">
          <a:solidFill>
            <a:schemeClr val="tx1"/>
          </a:solidFill>
          <a:latin typeface="Arial"/>
          <a:ea typeface="+mn-ea"/>
          <a:cs typeface="Arial"/>
        </a:defRPr>
      </a:lvl5pPr>
      <a:lvl6pPr marL="2513045" indent="-228458" algn="l" defTabSz="45691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962" indent="-228458" algn="l" defTabSz="45691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879" indent="-228458" algn="l" defTabSz="45691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796" indent="-228458" algn="l" defTabSz="45691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9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7" algn="l" defTabSz="4569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35" algn="l" defTabSz="4569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52" algn="l" defTabSz="4569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68" algn="l" defTabSz="4569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86" algn="l" defTabSz="4569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04" algn="l" defTabSz="4569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20" algn="l" defTabSz="4569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37" algn="l" defTabSz="4569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974">
              <a:lnSpc>
                <a:spcPts val="1800"/>
              </a:lnSpc>
              <a:spcBef>
                <a:spcPts val="800"/>
              </a:spcBef>
            </a:pPr>
            <a:endParaRPr lang="en-US" sz="1600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475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6974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6974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128" indent="-176128" algn="l" defTabSz="456974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3973" indent="0" algn="l" defTabSz="456974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0954" indent="0" algn="l" defTabSz="456974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7944" indent="0" algn="l" defTabSz="456974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3403" indent="-228486" algn="l" defTabSz="45697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394" indent="-228486" algn="l" defTabSz="45697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376" indent="-228486" algn="l" defTabSz="45697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357" indent="-228486" algn="l" defTabSz="45697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9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74" algn="l" defTabSz="4569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73" algn="l" defTabSz="4569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54" algn="l" defTabSz="4569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44" algn="l" defTabSz="4569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17" algn="l" defTabSz="4569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891" algn="l" defTabSz="4569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880" algn="l" defTabSz="4569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862" algn="l" defTabSz="4569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95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10" name="Slide do think-cell" r:id="rId9" imgW="360" imgH="360" progId="TCLayout.ActiveDocument.1">
                  <p:embed/>
                </p:oleObj>
              </mc:Choice>
              <mc:Fallback>
                <p:oleObj name="Slide do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68390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7" r:id="rId2"/>
    <p:sldLayoutId id="2147484118" r:id="rId3"/>
    <p:sldLayoutId id="2147484119" r:id="rId4"/>
    <p:sldLayoutId id="214748412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6929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rgbClr val="FFFFFF"/>
          </a:solidFill>
          <a:latin typeface="Arial"/>
          <a:ea typeface="+mj-ea"/>
          <a:cs typeface="Arial"/>
        </a:defRPr>
      </a:lvl1pPr>
    </p:titleStyle>
    <p:bodyStyle>
      <a:lvl1pPr marL="0" indent="0" algn="l" defTabSz="456929" rtl="0" eaLnBrk="1" latinLnBrk="0" hangingPunct="1">
        <a:spcBef>
          <a:spcPct val="20000"/>
        </a:spcBef>
        <a:buFont typeface="Arial"/>
        <a:buNone/>
        <a:defRPr sz="1500" kern="1200" baseline="0">
          <a:solidFill>
            <a:srgbClr val="FFFFFF"/>
          </a:solidFill>
          <a:latin typeface="Arial"/>
          <a:ea typeface="+mn-ea"/>
          <a:cs typeface="Arial"/>
        </a:defRPr>
      </a:lvl1pPr>
      <a:lvl2pPr marL="456929" indent="0" algn="l" defTabSz="456929" rtl="0" eaLnBrk="1" latinLnBrk="0" hangingPunct="1">
        <a:spcBef>
          <a:spcPct val="20000"/>
        </a:spcBef>
        <a:buFont typeface="Arial"/>
        <a:buNone/>
        <a:defRPr sz="1500" kern="1200">
          <a:solidFill>
            <a:schemeClr val="tx1"/>
          </a:solidFill>
          <a:latin typeface="Arial"/>
          <a:ea typeface="+mn-ea"/>
          <a:cs typeface="Arial"/>
        </a:defRPr>
      </a:lvl2pPr>
      <a:lvl3pPr marL="913857" indent="0" algn="l" defTabSz="456929" rtl="0" eaLnBrk="1" latinLnBrk="0" hangingPunct="1">
        <a:spcBef>
          <a:spcPct val="20000"/>
        </a:spcBef>
        <a:buFont typeface="Arial"/>
        <a:buNone/>
        <a:defRPr sz="1500" kern="1200">
          <a:solidFill>
            <a:schemeClr val="tx1"/>
          </a:solidFill>
          <a:latin typeface="Arial"/>
          <a:ea typeface="+mn-ea"/>
          <a:cs typeface="Arial"/>
        </a:defRPr>
      </a:lvl3pPr>
      <a:lvl4pPr marL="1370786" indent="0" algn="l" defTabSz="456929" rtl="0" eaLnBrk="1" latinLnBrk="0" hangingPunct="1">
        <a:spcBef>
          <a:spcPct val="20000"/>
        </a:spcBef>
        <a:buFont typeface="Arial"/>
        <a:buNone/>
        <a:defRPr sz="1500" kern="1200">
          <a:solidFill>
            <a:schemeClr val="tx1"/>
          </a:solidFill>
          <a:latin typeface="Arial"/>
          <a:ea typeface="+mn-ea"/>
          <a:cs typeface="Arial"/>
        </a:defRPr>
      </a:lvl4pPr>
      <a:lvl5pPr marL="1827714" indent="0" algn="l" defTabSz="456929" rtl="0" eaLnBrk="1" latinLnBrk="0" hangingPunct="1">
        <a:spcBef>
          <a:spcPct val="20000"/>
        </a:spcBef>
        <a:buFont typeface="Arial"/>
        <a:buNone/>
        <a:defRPr sz="1500" kern="1200">
          <a:solidFill>
            <a:schemeClr val="tx1"/>
          </a:solidFill>
          <a:latin typeface="Arial"/>
          <a:ea typeface="+mn-ea"/>
          <a:cs typeface="Arial"/>
        </a:defRPr>
      </a:lvl5pPr>
      <a:lvl6pPr marL="2513108" indent="-228464" algn="l" defTabSz="45692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36" indent="-228464" algn="l" defTabSz="45692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65" indent="-228464" algn="l" defTabSz="45692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893" indent="-228464" algn="l" defTabSz="45692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29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7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86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14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43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72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00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29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302">
              <a:lnSpc>
                <a:spcPts val="1800"/>
              </a:lnSpc>
              <a:spcBef>
                <a:spcPts val="800"/>
              </a:spcBef>
            </a:pPr>
            <a:endParaRPr lang="en-US" sz="1600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224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  <p:sldLayoutId id="2147484127" r:id="rId4"/>
    <p:sldLayoutId id="2147484129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6302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6302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5876" indent="-175876" algn="l" defTabSz="456302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2713" indent="0" algn="l" defTabSz="456302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69050" indent="0" algn="l" defTabSz="456302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5424" indent="0" algn="l" defTabSz="456302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09875" indent="-228150" algn="l" defTabSz="45630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250" indent="-228150" algn="l" defTabSz="45630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2588" indent="-228150" algn="l" defTabSz="45630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8925" indent="-228150" algn="l" defTabSz="45630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02" algn="l" defTabSz="456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3" algn="l" defTabSz="456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50" algn="l" defTabSz="456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4" algn="l" defTabSz="456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25" algn="l" defTabSz="456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027" algn="l" defTabSz="456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03" algn="l" defTabSz="456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761" algn="l" defTabSz="456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en-US" sz="1600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453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1" r:id="rId1"/>
    <p:sldLayoutId id="2147484132" r:id="rId2"/>
    <p:sldLayoutId id="2147484133" r:id="rId3"/>
    <p:sldLayoutId id="2147484134" r:id="rId4"/>
    <p:sldLayoutId id="2147484136" r:id="rId5"/>
    <p:sldLayoutId id="2147484137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89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189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09" indent="-176209" algn="l" defTabSz="457189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378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566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754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200"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200"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200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457200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200"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457200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200"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200"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364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9" r:id="rId1"/>
    <p:sldLayoutId id="2147484140" r:id="rId2"/>
    <p:sldLayoutId id="214748414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638">
              <a:lnSpc>
                <a:spcPts val="1800"/>
              </a:lnSpc>
              <a:spcBef>
                <a:spcPts val="800"/>
              </a:spcBef>
            </a:pPr>
            <a:endParaRPr lang="en-US" sz="1600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291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3" r:id="rId1"/>
    <p:sldLayoutId id="2147484144" r:id="rId2"/>
    <p:sldLayoutId id="2147484145" r:id="rId3"/>
    <p:sldLayoutId id="2147484146" r:id="rId4"/>
    <p:sldLayoutId id="2147484148" r:id="rId5"/>
    <p:sldLayoutId id="214748414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6638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6638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002" indent="-176002" algn="l" defTabSz="456638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3343" indent="0" algn="l" defTabSz="456638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0002" indent="0" algn="l" defTabSz="456638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6684" indent="0" algn="l" defTabSz="456638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1639" indent="-228318" algn="l" defTabSz="45663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322" indent="-228318" algn="l" defTabSz="45663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4982" indent="-228318" algn="l" defTabSz="45663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641" indent="-228318" algn="l" defTabSz="45663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6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38" algn="l" defTabSz="4566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43" algn="l" defTabSz="4566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02" algn="l" defTabSz="4566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684" algn="l" defTabSz="4566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321" algn="l" defTabSz="4566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959" algn="l" defTabSz="4566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640" algn="l" defTabSz="4566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309" algn="l" defTabSz="4566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046">
              <a:lnSpc>
                <a:spcPts val="1800"/>
              </a:lnSpc>
              <a:spcBef>
                <a:spcPts val="800"/>
              </a:spcBef>
            </a:pPr>
            <a:endParaRPr lang="en-US" sz="1600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814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1" r:id="rId1"/>
    <p:sldLayoutId id="2147484152" r:id="rId2"/>
    <p:sldLayoutId id="2147484153" r:id="rId3"/>
    <p:sldLayoutId id="2147484154" r:id="rId4"/>
    <p:sldLayoutId id="2147484156" r:id="rId5"/>
    <p:sldLayoutId id="2147484157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46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046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155" indent="-176155" algn="l" defTabSz="457046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108" indent="0" algn="l" defTabSz="457046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158" indent="0" algn="l" defTabSz="457046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214" indent="0" algn="l" defTabSz="457046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3781" indent="-228522" algn="l" defTabSz="45704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38" indent="-228522" algn="l" defTabSz="45704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89" indent="-228522" algn="l" defTabSz="45704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9" indent="-228522" algn="l" defTabSz="45704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4570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8" algn="l" defTabSz="4570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8" algn="l" defTabSz="4570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4" algn="l" defTabSz="4570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59" algn="l" defTabSz="4570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05" algn="l" defTabSz="4570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0" algn="l" defTabSz="4570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1" algn="l" defTabSz="4570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5207">
              <a:lnSpc>
                <a:spcPts val="1800"/>
              </a:lnSpc>
              <a:spcBef>
                <a:spcPts val="800"/>
              </a:spcBef>
            </a:pPr>
            <a:endParaRPr lang="en-US" sz="1600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326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9" r:id="rId1"/>
    <p:sldLayoutId id="2147484160" r:id="rId2"/>
    <p:sldLayoutId id="2147484161" r:id="rId3"/>
    <p:sldLayoutId id="2147484162" r:id="rId4"/>
    <p:sldLayoutId id="2147484164" r:id="rId5"/>
    <p:sldLayoutId id="214748416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5207" rtl="0" eaLnBrk="1" latinLnBrk="0" hangingPunct="1">
        <a:lnSpc>
          <a:spcPts val="2399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5207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5456" indent="-175456" algn="l" defTabSz="455207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0581" indent="0" algn="l" defTabSz="455207" rtl="0" eaLnBrk="1" latinLnBrk="0" hangingPunct="1">
        <a:lnSpc>
          <a:spcPts val="2199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65845" indent="0" algn="l" defTabSz="455207" rtl="0" eaLnBrk="1" latinLnBrk="0" hangingPunct="1">
        <a:lnSpc>
          <a:spcPts val="2199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1161" indent="0" algn="l" defTabSz="455207" rtl="0" eaLnBrk="1" latinLnBrk="0" hangingPunct="1">
        <a:lnSpc>
          <a:spcPts val="2199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03973" indent="-227600" algn="l" defTabSz="45520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9292" indent="-227600" algn="l" defTabSz="45520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560" indent="-227600" algn="l" defTabSz="45520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69873" indent="-227600" algn="l" defTabSz="45520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52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207" algn="l" defTabSz="4552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581" algn="l" defTabSz="4552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845" algn="l" defTabSz="4552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161" algn="l" defTabSz="4552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372" algn="l" defTabSz="4552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626" algn="l" defTabSz="4552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944" algn="l" defTabSz="4552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2206" algn="l" defTabSz="4552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818">
              <a:lnSpc>
                <a:spcPts val="1800"/>
              </a:lnSpc>
              <a:spcBef>
                <a:spcPts val="800"/>
              </a:spcBef>
            </a:pPr>
            <a:endParaRPr lang="en-US" sz="1600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871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  <p:sldLayoutId id="2147484170" r:id="rId4"/>
    <p:sldLayoutId id="2147484172" r:id="rId5"/>
    <p:sldLayoutId id="2147484173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6818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6818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069" indent="-176069" algn="l" defTabSz="456818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3680" indent="0" algn="l" defTabSz="456818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0512" indent="0" algn="l" defTabSz="456818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7359" indent="0" algn="l" defTabSz="456818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2584" indent="-228408" algn="l" defTabSz="45681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432" indent="-228408" algn="l" defTabSz="45681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264" indent="-228408" algn="l" defTabSz="45681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096" indent="-228408" algn="l" defTabSz="45681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18" algn="l" defTabSz="45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80" algn="l" defTabSz="45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12" algn="l" defTabSz="45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359" algn="l" defTabSz="45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176" algn="l" defTabSz="45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994" algn="l" defTabSz="45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840" algn="l" defTabSz="45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674" algn="l" defTabSz="456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266"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3089236" y="16539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266"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266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456266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266"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0008318" y="309079"/>
            <a:ext cx="886632" cy="3600828"/>
          </a:xfrm>
          <a:prstGeom prst="rect">
            <a:avLst/>
          </a:prstGeom>
        </p:spPr>
        <p:txBody>
          <a:bodyPr wrap="square" lIns="91284" tIns="45642" rIns="91284" bIns="45642">
            <a:spAutoFit/>
          </a:bodyPr>
          <a:lstStyle/>
          <a:p>
            <a:pPr defTabSz="456266"/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45626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26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266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45626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26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266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45626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26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266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45626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26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266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45626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26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266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456266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26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266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0016847" y="1085544"/>
            <a:ext cx="1356004" cy="276841"/>
          </a:xfrm>
          <a:prstGeom prst="rect">
            <a:avLst/>
          </a:prstGeom>
        </p:spPr>
        <p:txBody>
          <a:bodyPr wrap="square" lIns="91284" tIns="45642" rIns="91284" bIns="45642">
            <a:spAutoFit/>
          </a:bodyPr>
          <a:lstStyle/>
          <a:p>
            <a:pPr defTabSz="456266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/>
        </p:nvSpPr>
        <p:spPr>
          <a:xfrm>
            <a:off x="10016847" y="538725"/>
            <a:ext cx="1356004" cy="276841"/>
          </a:xfrm>
          <a:prstGeom prst="rect">
            <a:avLst/>
          </a:prstGeom>
        </p:spPr>
        <p:txBody>
          <a:bodyPr wrap="square" lIns="91284" tIns="45642" rIns="91284" bIns="45642">
            <a:spAutoFit/>
          </a:bodyPr>
          <a:lstStyle/>
          <a:p>
            <a:pPr defTabSz="456266"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/>
        </p:nvSpPr>
        <p:spPr>
          <a:xfrm>
            <a:off x="10016847" y="1596924"/>
            <a:ext cx="1356004" cy="276841"/>
          </a:xfrm>
          <a:prstGeom prst="rect">
            <a:avLst/>
          </a:prstGeom>
        </p:spPr>
        <p:txBody>
          <a:bodyPr wrap="square" lIns="91284" tIns="45642" rIns="91284" bIns="45642">
            <a:spAutoFit/>
          </a:bodyPr>
          <a:lstStyle/>
          <a:p>
            <a:pPr defTabSz="456266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/>
        </p:nvSpPr>
        <p:spPr>
          <a:xfrm>
            <a:off x="10016847" y="2151555"/>
            <a:ext cx="1356004" cy="276841"/>
          </a:xfrm>
          <a:prstGeom prst="rect">
            <a:avLst/>
          </a:prstGeom>
        </p:spPr>
        <p:txBody>
          <a:bodyPr wrap="square" lIns="91284" tIns="45642" rIns="91284" bIns="45642">
            <a:spAutoFit/>
          </a:bodyPr>
          <a:lstStyle/>
          <a:p>
            <a:pPr defTabSz="456266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/>
        </p:nvSpPr>
        <p:spPr>
          <a:xfrm>
            <a:off x="10016847" y="2708712"/>
            <a:ext cx="1356004" cy="276841"/>
          </a:xfrm>
          <a:prstGeom prst="rect">
            <a:avLst/>
          </a:prstGeom>
        </p:spPr>
        <p:txBody>
          <a:bodyPr wrap="square" lIns="91284" tIns="45642" rIns="91284" bIns="45642">
            <a:spAutoFit/>
          </a:bodyPr>
          <a:lstStyle/>
          <a:p>
            <a:pPr defTabSz="456266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/>
        </p:nvSpPr>
        <p:spPr>
          <a:xfrm>
            <a:off x="10016847" y="3284403"/>
            <a:ext cx="1356004" cy="276841"/>
          </a:xfrm>
          <a:prstGeom prst="rect">
            <a:avLst/>
          </a:prstGeom>
        </p:spPr>
        <p:txBody>
          <a:bodyPr wrap="square" lIns="91284" tIns="45642" rIns="91284" bIns="45642">
            <a:spAutoFit/>
          </a:bodyPr>
          <a:lstStyle/>
          <a:p>
            <a:pPr defTabSz="456266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314424" y="305324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9314424" y="250441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9314424" y="195562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9314424" y="140677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9314424" y="85798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9314424" y="30912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0016847" y="3843081"/>
            <a:ext cx="1356004" cy="276841"/>
          </a:xfrm>
          <a:prstGeom prst="rect">
            <a:avLst/>
          </a:prstGeom>
        </p:spPr>
        <p:txBody>
          <a:bodyPr wrap="square" lIns="91284" tIns="45642" rIns="91284" bIns="45642">
            <a:spAutoFit/>
          </a:bodyPr>
          <a:lstStyle/>
          <a:p>
            <a:pPr defTabSz="456266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9314424" y="361195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9314435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266"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266"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630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9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9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9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630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9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9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9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628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9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9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9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defTabSz="456266"/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699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8" r:id="rId3"/>
    <p:sldLayoutId id="2147484179" r:id="rId4"/>
    <p:sldLayoutId id="2147484180" r:id="rId5"/>
    <p:sldLayoutId id="214748418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6266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6266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5862" indent="-175862" algn="l" defTabSz="456266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2645" indent="0" algn="l" defTabSz="456266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68948" indent="0" algn="l" defTabSz="456266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5289" indent="0" algn="l" defTabSz="456266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09686" indent="-228132" algn="l" defTabSz="4562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028" indent="-228132" algn="l" defTabSz="4562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2332" indent="-228132" algn="l" defTabSz="4562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8634" indent="-228132" algn="l" defTabSz="4562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2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66" algn="l" defTabSz="4562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645" algn="l" defTabSz="4562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948" algn="l" defTabSz="4562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289" algn="l" defTabSz="4562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554" algn="l" defTabSz="4562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820" algn="l" defTabSz="4562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165" algn="l" defTabSz="4562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488" algn="l" defTabSz="4562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058"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3089236" y="16497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58"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58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457058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58"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0008318" y="309079"/>
            <a:ext cx="886632" cy="3600962"/>
          </a:xfrm>
          <a:prstGeom prst="rect">
            <a:avLst/>
          </a:prstGeom>
        </p:spPr>
        <p:txBody>
          <a:bodyPr wrap="square" lIns="91416" tIns="45708" rIns="91416" bIns="45708">
            <a:spAutoFit/>
          </a:bodyPr>
          <a:lstStyle/>
          <a:p>
            <a:pPr defTabSz="457058"/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45705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45705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45705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45705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45705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457058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0016847" y="1085544"/>
            <a:ext cx="1356004" cy="276975"/>
          </a:xfrm>
          <a:prstGeom prst="rect">
            <a:avLst/>
          </a:prstGeom>
        </p:spPr>
        <p:txBody>
          <a:bodyPr wrap="square" lIns="91416" tIns="45708" rIns="91416" bIns="45708">
            <a:spAutoFit/>
          </a:bodyPr>
          <a:lstStyle/>
          <a:p>
            <a:pPr defTabSz="457058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/>
        </p:nvSpPr>
        <p:spPr>
          <a:xfrm>
            <a:off x="10016847" y="538725"/>
            <a:ext cx="1356004" cy="276975"/>
          </a:xfrm>
          <a:prstGeom prst="rect">
            <a:avLst/>
          </a:prstGeom>
        </p:spPr>
        <p:txBody>
          <a:bodyPr wrap="square" lIns="91416" tIns="45708" rIns="91416" bIns="45708">
            <a:spAutoFit/>
          </a:bodyPr>
          <a:lstStyle/>
          <a:p>
            <a:pPr defTabSz="457058"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/>
        </p:nvSpPr>
        <p:spPr>
          <a:xfrm>
            <a:off x="10016847" y="1596924"/>
            <a:ext cx="1356004" cy="276975"/>
          </a:xfrm>
          <a:prstGeom prst="rect">
            <a:avLst/>
          </a:prstGeom>
        </p:spPr>
        <p:txBody>
          <a:bodyPr wrap="square" lIns="91416" tIns="45708" rIns="91416" bIns="45708">
            <a:spAutoFit/>
          </a:bodyPr>
          <a:lstStyle/>
          <a:p>
            <a:pPr defTabSz="457058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/>
        </p:nvSpPr>
        <p:spPr>
          <a:xfrm>
            <a:off x="10016847" y="2151555"/>
            <a:ext cx="1356004" cy="276975"/>
          </a:xfrm>
          <a:prstGeom prst="rect">
            <a:avLst/>
          </a:prstGeom>
        </p:spPr>
        <p:txBody>
          <a:bodyPr wrap="square" lIns="91416" tIns="45708" rIns="91416" bIns="45708">
            <a:spAutoFit/>
          </a:bodyPr>
          <a:lstStyle/>
          <a:p>
            <a:pPr defTabSz="457058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/>
        </p:nvSpPr>
        <p:spPr>
          <a:xfrm>
            <a:off x="10016847" y="2708712"/>
            <a:ext cx="1356004" cy="276975"/>
          </a:xfrm>
          <a:prstGeom prst="rect">
            <a:avLst/>
          </a:prstGeom>
        </p:spPr>
        <p:txBody>
          <a:bodyPr wrap="square" lIns="91416" tIns="45708" rIns="91416" bIns="45708">
            <a:spAutoFit/>
          </a:bodyPr>
          <a:lstStyle/>
          <a:p>
            <a:pPr defTabSz="457058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/>
        </p:nvSpPr>
        <p:spPr>
          <a:xfrm>
            <a:off x="10016847" y="3284403"/>
            <a:ext cx="1356004" cy="276975"/>
          </a:xfrm>
          <a:prstGeom prst="rect">
            <a:avLst/>
          </a:prstGeom>
        </p:spPr>
        <p:txBody>
          <a:bodyPr wrap="square" lIns="91416" tIns="45708" rIns="91416" bIns="45708">
            <a:spAutoFit/>
          </a:bodyPr>
          <a:lstStyle/>
          <a:p>
            <a:pPr defTabSz="457058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314424" y="305321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9314424" y="2504387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9314424" y="195556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9314424" y="14067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9314424" y="85791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9314424" y="30909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0016847" y="3843081"/>
            <a:ext cx="1356004" cy="276975"/>
          </a:xfrm>
          <a:prstGeom prst="rect">
            <a:avLst/>
          </a:prstGeom>
        </p:spPr>
        <p:txBody>
          <a:bodyPr wrap="square" lIns="91416" tIns="45708" rIns="91416" bIns="45708">
            <a:spAutoFit/>
          </a:bodyPr>
          <a:lstStyle/>
          <a:p>
            <a:pPr defTabSz="457058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9314424" y="361188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9314435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58"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58"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564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564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562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2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5" r:id="rId3"/>
    <p:sldLayoutId id="214748418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58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058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159" indent="-176159" algn="l" defTabSz="457058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130" indent="0" algn="l" defTabSz="457058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192" indent="0" algn="l" defTabSz="457058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259" indent="0" algn="l" defTabSz="457058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3844" indent="-228528" algn="l" defTabSz="4570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2" indent="-228528" algn="l" defTabSz="4570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4" indent="-228528" algn="l" defTabSz="4570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6" indent="-228528" algn="l" defTabSz="4570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30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2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9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6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4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879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6986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6986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132" indent="-176132" algn="l" defTabSz="456986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3995" indent="0" algn="l" defTabSz="456986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0988" indent="0" algn="l" defTabSz="456986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7989" indent="0" algn="l" defTabSz="456986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3466" indent="-228492" algn="l" defTabSz="45698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68" indent="-228492" algn="l" defTabSz="45698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61" indent="-228492" algn="l" defTabSz="45698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54" indent="-228492" algn="l" defTabSz="45698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86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95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8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89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74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0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60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54" algn="l" defTabSz="4569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95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89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04195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8" r:id="rId1"/>
    <p:sldLayoutId id="2147484189" r:id="rId2"/>
    <p:sldLayoutId id="2147484190" r:id="rId3"/>
    <p:sldLayoutId id="2147484191" r:id="rId4"/>
    <p:sldLayoutId id="2147484193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6929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rgbClr val="FFFFFF"/>
          </a:solidFill>
          <a:latin typeface="Arial"/>
          <a:ea typeface="+mj-ea"/>
          <a:cs typeface="Arial"/>
        </a:defRPr>
      </a:lvl1pPr>
    </p:titleStyle>
    <p:bodyStyle>
      <a:lvl1pPr marL="0" indent="0" algn="l" defTabSz="456929" rtl="0" eaLnBrk="1" latinLnBrk="0" hangingPunct="1">
        <a:spcBef>
          <a:spcPct val="20000"/>
        </a:spcBef>
        <a:buFont typeface="Arial"/>
        <a:buNone/>
        <a:defRPr sz="1500" kern="1200" baseline="0">
          <a:solidFill>
            <a:srgbClr val="FFFFFF"/>
          </a:solidFill>
          <a:latin typeface="Arial"/>
          <a:ea typeface="+mn-ea"/>
          <a:cs typeface="Arial"/>
        </a:defRPr>
      </a:lvl1pPr>
      <a:lvl2pPr marL="456929" indent="0" algn="l" defTabSz="456929" rtl="0" eaLnBrk="1" latinLnBrk="0" hangingPunct="1">
        <a:spcBef>
          <a:spcPct val="20000"/>
        </a:spcBef>
        <a:buFont typeface="Arial"/>
        <a:buNone/>
        <a:defRPr sz="1500" kern="1200">
          <a:solidFill>
            <a:schemeClr val="tx1"/>
          </a:solidFill>
          <a:latin typeface="Arial"/>
          <a:ea typeface="+mn-ea"/>
          <a:cs typeface="Arial"/>
        </a:defRPr>
      </a:lvl2pPr>
      <a:lvl3pPr marL="913857" indent="0" algn="l" defTabSz="456929" rtl="0" eaLnBrk="1" latinLnBrk="0" hangingPunct="1">
        <a:spcBef>
          <a:spcPct val="20000"/>
        </a:spcBef>
        <a:buFont typeface="Arial"/>
        <a:buNone/>
        <a:defRPr sz="1500" kern="1200">
          <a:solidFill>
            <a:schemeClr val="tx1"/>
          </a:solidFill>
          <a:latin typeface="Arial"/>
          <a:ea typeface="+mn-ea"/>
          <a:cs typeface="Arial"/>
        </a:defRPr>
      </a:lvl3pPr>
      <a:lvl4pPr marL="1370786" indent="0" algn="l" defTabSz="456929" rtl="0" eaLnBrk="1" latinLnBrk="0" hangingPunct="1">
        <a:spcBef>
          <a:spcPct val="20000"/>
        </a:spcBef>
        <a:buFont typeface="Arial"/>
        <a:buNone/>
        <a:defRPr sz="1500" kern="1200">
          <a:solidFill>
            <a:schemeClr val="tx1"/>
          </a:solidFill>
          <a:latin typeface="Arial"/>
          <a:ea typeface="+mn-ea"/>
          <a:cs typeface="Arial"/>
        </a:defRPr>
      </a:lvl4pPr>
      <a:lvl5pPr marL="1827714" indent="0" algn="l" defTabSz="456929" rtl="0" eaLnBrk="1" latinLnBrk="0" hangingPunct="1">
        <a:spcBef>
          <a:spcPct val="20000"/>
        </a:spcBef>
        <a:buFont typeface="Arial"/>
        <a:buNone/>
        <a:defRPr sz="1500" kern="1200">
          <a:solidFill>
            <a:schemeClr val="tx1"/>
          </a:solidFill>
          <a:latin typeface="Arial"/>
          <a:ea typeface="+mn-ea"/>
          <a:cs typeface="Arial"/>
        </a:defRPr>
      </a:lvl5pPr>
      <a:lvl6pPr marL="2513108" indent="-228464" algn="l" defTabSz="45692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36" indent="-228464" algn="l" defTabSz="45692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65" indent="-228464" algn="l" defTabSz="45692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893" indent="-228464" algn="l" defTabSz="45692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29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7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86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14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43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72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00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29" algn="l" defTabSz="456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32"/>
          <p:cNvSpPr txBox="1">
            <a:spLocks noChangeArrowheads="1"/>
          </p:cNvSpPr>
          <p:nvPr userDrawn="1"/>
        </p:nvSpPr>
        <p:spPr bwMode="auto">
          <a:xfrm>
            <a:off x="8172423" y="4881645"/>
            <a:ext cx="860476" cy="25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541" tIns="41276" rIns="82541" bIns="41276">
            <a:spAutoFit/>
          </a:bodyPr>
          <a:lstStyle/>
          <a:p>
            <a:pPr algn="ctr" defTabSz="412712" eaLnBrk="0" hangingPunct="0">
              <a:spcBef>
                <a:spcPct val="50000"/>
              </a:spcBef>
              <a:defRPr/>
            </a:pPr>
            <a:r>
              <a:rPr lang="en-US" sz="1100" smtClean="0">
                <a:solidFill>
                  <a:srgbClr val="0099AB"/>
                </a:solidFill>
                <a:latin typeface="Neo Tech Pro" pitchFamily="34" charset="0"/>
                <a:ea typeface="ＭＳ Ｐゴシック" pitchFamily="34" charset="-128"/>
                <a:cs typeface="Arial" pitchFamily="34" charset="0"/>
              </a:rPr>
              <a:t>&gt;&gt; 0</a:t>
            </a:r>
            <a:fld id="{32B6E4E6-CAFA-4F9A-B0B3-C424BB12C6F8}" type="slidenum">
              <a:rPr lang="en-US" sz="1100" smtClean="0">
                <a:solidFill>
                  <a:srgbClr val="0099AB"/>
                </a:solidFill>
                <a:latin typeface="Neo Tech Pro" pitchFamily="34" charset="0"/>
                <a:ea typeface="ＭＳ Ｐゴシック" pitchFamily="34" charset="-128"/>
                <a:cs typeface="Arial" pitchFamily="34" charset="0"/>
              </a:rPr>
              <a:pPr algn="ctr" defTabSz="412712" eaLnBrk="0" hangingPunct="0">
                <a:spcBef>
                  <a:spcPct val="50000"/>
                </a:spcBef>
                <a:defRPr/>
              </a:pPr>
              <a:t>‹nº›</a:t>
            </a:fld>
            <a:endParaRPr lang="en-US" sz="1100" dirty="0">
              <a:solidFill>
                <a:srgbClr val="0099AB"/>
              </a:solidFill>
              <a:latin typeface="Neo Tech Pro" pitchFamily="34" charset="0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574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5" r:id="rId1"/>
    <p:sldLayoutId id="2147484196" r:id="rId2"/>
    <p:sldLayoutId id="2147484197" r:id="rId3"/>
    <p:sldLayoutId id="2147484199" r:id="rId4"/>
    <p:sldLayoutId id="2147484200" r:id="rId5"/>
    <p:sldLayoutId id="2147484201" r:id="rId6"/>
    <p:sldLayoutId id="2147484202" r:id="rId7"/>
  </p:sldLayoutIdLst>
  <p:hf hdr="0" ftr="0" dt="0"/>
  <p:txStyles>
    <p:titleStyle>
      <a:lvl1pPr algn="l" defTabSz="412712" rtl="0" eaLnBrk="1" latinLnBrk="0" hangingPunct="1">
        <a:lnSpc>
          <a:spcPct val="90000"/>
        </a:lnSpc>
        <a:spcBef>
          <a:spcPct val="0"/>
        </a:spcBef>
        <a:buNone/>
        <a:defRPr sz="4000" kern="1200" baseline="0">
          <a:solidFill>
            <a:srgbClr val="FFFFFF"/>
          </a:solidFill>
          <a:latin typeface="Arial"/>
          <a:ea typeface="+mj-ea"/>
          <a:cs typeface="Arial"/>
        </a:defRPr>
      </a:lvl1pPr>
    </p:titleStyle>
    <p:bodyStyle>
      <a:lvl1pPr marL="0" indent="0" algn="l" defTabSz="412712" rtl="0" eaLnBrk="1" latinLnBrk="0" hangingPunct="1">
        <a:spcBef>
          <a:spcPct val="20000"/>
        </a:spcBef>
        <a:buFont typeface="Arial"/>
        <a:buNone/>
        <a:defRPr sz="1400" kern="1200" baseline="0">
          <a:solidFill>
            <a:srgbClr val="FFFFFF"/>
          </a:solidFill>
          <a:latin typeface="Arial"/>
          <a:ea typeface="+mn-ea"/>
          <a:cs typeface="Arial"/>
        </a:defRPr>
      </a:lvl1pPr>
      <a:lvl2pPr marL="412712" indent="0" algn="l" defTabSz="412712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tx1"/>
          </a:solidFill>
          <a:latin typeface="Arial"/>
          <a:ea typeface="+mn-ea"/>
          <a:cs typeface="Arial"/>
        </a:defRPr>
      </a:lvl2pPr>
      <a:lvl3pPr marL="825383" indent="0" algn="l" defTabSz="412712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1238101" indent="0" algn="l" defTabSz="412712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1650830" indent="0" algn="l" defTabSz="412712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269845" indent="-206356" algn="l" defTabSz="41271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2565" indent="-206356" algn="l" defTabSz="41271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95225" indent="-206356" algn="l" defTabSz="41271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08007" indent="-206356" algn="l" defTabSz="41271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27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2712" algn="l" defTabSz="4127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25383" algn="l" defTabSz="4127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38101" algn="l" defTabSz="4127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50830" algn="l" defTabSz="4127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63543" algn="l" defTabSz="4127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206" algn="l" defTabSz="4127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888923" algn="l" defTabSz="4127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01616" algn="l" defTabSz="4127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200"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7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200"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200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457200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200"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457200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2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5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10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7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6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200"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200"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2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2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50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713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4" r:id="rId1"/>
    <p:sldLayoutId id="2147484205" r:id="rId2"/>
    <p:sldLayoutId id="2147484206" r:id="rId3"/>
    <p:sldLayoutId id="214748420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506"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7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506"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506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456506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506"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9"/>
            <a:ext cx="886632" cy="3600869"/>
          </a:xfrm>
          <a:prstGeom prst="rect">
            <a:avLst/>
          </a:prstGeom>
        </p:spPr>
        <p:txBody>
          <a:bodyPr wrap="square" lIns="91324" tIns="45662" rIns="91324" bIns="45662">
            <a:spAutoFit/>
          </a:bodyPr>
          <a:lstStyle/>
          <a:p>
            <a:pPr defTabSz="456506"/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45650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50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506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45650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50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506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45650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50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506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45650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50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506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45650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50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506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456506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506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6506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7" y="1085543"/>
            <a:ext cx="1356004" cy="276882"/>
          </a:xfrm>
          <a:prstGeom prst="rect">
            <a:avLst/>
          </a:prstGeom>
        </p:spPr>
        <p:txBody>
          <a:bodyPr wrap="square" lIns="91324" tIns="45662" rIns="91324" bIns="45662">
            <a:spAutoFit/>
          </a:bodyPr>
          <a:lstStyle/>
          <a:p>
            <a:pPr defTabSz="456506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7" y="538724"/>
            <a:ext cx="1356004" cy="276882"/>
          </a:xfrm>
          <a:prstGeom prst="rect">
            <a:avLst/>
          </a:prstGeom>
        </p:spPr>
        <p:txBody>
          <a:bodyPr wrap="square" lIns="91324" tIns="45662" rIns="91324" bIns="45662">
            <a:spAutoFit/>
          </a:bodyPr>
          <a:lstStyle/>
          <a:p>
            <a:pPr defTabSz="456506"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7" y="1596923"/>
            <a:ext cx="1356004" cy="276882"/>
          </a:xfrm>
          <a:prstGeom prst="rect">
            <a:avLst/>
          </a:prstGeom>
        </p:spPr>
        <p:txBody>
          <a:bodyPr wrap="square" lIns="91324" tIns="45662" rIns="91324" bIns="45662">
            <a:spAutoFit/>
          </a:bodyPr>
          <a:lstStyle/>
          <a:p>
            <a:pPr defTabSz="456506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7" y="2151554"/>
            <a:ext cx="1356004" cy="276882"/>
          </a:xfrm>
          <a:prstGeom prst="rect">
            <a:avLst/>
          </a:prstGeom>
        </p:spPr>
        <p:txBody>
          <a:bodyPr wrap="square" lIns="91324" tIns="45662" rIns="91324" bIns="45662">
            <a:spAutoFit/>
          </a:bodyPr>
          <a:lstStyle/>
          <a:p>
            <a:pPr defTabSz="456506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7" y="2708711"/>
            <a:ext cx="1356004" cy="276882"/>
          </a:xfrm>
          <a:prstGeom prst="rect">
            <a:avLst/>
          </a:prstGeom>
        </p:spPr>
        <p:txBody>
          <a:bodyPr wrap="square" lIns="91324" tIns="45662" rIns="91324" bIns="45662">
            <a:spAutoFit/>
          </a:bodyPr>
          <a:lstStyle/>
          <a:p>
            <a:pPr defTabSz="456506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7" y="3284402"/>
            <a:ext cx="1356004" cy="276882"/>
          </a:xfrm>
          <a:prstGeom prst="rect">
            <a:avLst/>
          </a:prstGeom>
        </p:spPr>
        <p:txBody>
          <a:bodyPr wrap="square" lIns="91324" tIns="45662" rIns="91324" bIns="45662">
            <a:spAutoFit/>
          </a:bodyPr>
          <a:lstStyle/>
          <a:p>
            <a:pPr defTabSz="456506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22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41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60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6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12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7" y="3843080"/>
            <a:ext cx="1356004" cy="276882"/>
          </a:xfrm>
          <a:prstGeom prst="rect">
            <a:avLst/>
          </a:prstGeom>
        </p:spPr>
        <p:txBody>
          <a:bodyPr wrap="square" lIns="91324" tIns="45662" rIns="91324" bIns="45662">
            <a:spAutoFit/>
          </a:bodyPr>
          <a:lstStyle/>
          <a:p>
            <a:pPr defTabSz="456506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93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35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506"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506"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610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610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608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24" tIns="45662" rIns="91324" bIns="45662" numCol="1" anchor="t" anchorCtr="0" compatLnSpc="1">
            <a:prstTxWarp prst="textNoShape">
              <a:avLst/>
            </a:prstTxWarp>
          </a:bodyPr>
          <a:lstStyle/>
          <a:p>
            <a:pPr defTabSz="456506"/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735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9" r:id="rId1"/>
    <p:sldLayoutId id="2147484210" r:id="rId2"/>
    <p:sldLayoutId id="214748421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6506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6506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5952" indent="-175952" algn="l" defTabSz="456506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3095" indent="0" algn="l" defTabSz="456506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69628" indent="0" algn="l" defTabSz="456506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6189" indent="0" algn="l" defTabSz="456506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0946" indent="-228252" algn="l" defTabSz="45650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508" indent="-228252" algn="l" defTabSz="45650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4042" indent="-228252" algn="l" defTabSz="45650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0574" indent="-228252" algn="l" defTabSz="45650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5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06" algn="l" defTabSz="4565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95" algn="l" defTabSz="4565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628" algn="l" defTabSz="4565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189" algn="l" defTabSz="4565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694" algn="l" defTabSz="4565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200" algn="l" defTabSz="4565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760" algn="l" defTabSz="4565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308" algn="l" defTabSz="4565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400"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3089236" y="16497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400"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400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914400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400"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9144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4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4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9144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4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4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9144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4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4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9144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4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4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9144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4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4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914400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400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914400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0016846" y="108554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/>
        </p:nvSpPr>
        <p:spPr>
          <a:xfrm>
            <a:off x="10016846" y="5387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/>
        </p:nvSpPr>
        <p:spPr>
          <a:xfrm>
            <a:off x="10016846" y="159692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/>
        </p:nvSpPr>
        <p:spPr>
          <a:xfrm>
            <a:off x="10016846" y="2151555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/>
        </p:nvSpPr>
        <p:spPr>
          <a:xfrm>
            <a:off x="10016846" y="2708710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/>
        </p:nvSpPr>
        <p:spPr>
          <a:xfrm>
            <a:off x="10016846" y="328440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314424" y="305319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9314424" y="25043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9314424" y="195555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9314424" y="1406727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9314424" y="85790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9314424" y="30907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0016846" y="384307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9314424" y="361187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9314426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400"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400"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552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552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550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063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3" r:id="rId1"/>
    <p:sldLayoutId id="2147484214" r:id="rId2"/>
    <p:sldLayoutId id="2147484215" r:id="rId3"/>
    <p:sldLayoutId id="214748421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9319DB1A-104F-413A-8103-254A073E9BAB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685800"/>
              <a:t>07/08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7C05018A-4304-44FD-8F7E-95B26375A59D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685800"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304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9" r:id="rId1"/>
    <p:sldLayoutId id="2147484220" r:id="rId2"/>
    <p:sldLayoutId id="2147484221" r:id="rId3"/>
    <p:sldLayoutId id="2147484222" r:id="rId4"/>
    <p:sldLayoutId id="2147484223" r:id="rId5"/>
    <p:sldLayoutId id="2147484224" r:id="rId6"/>
    <p:sldLayoutId id="2147484225" r:id="rId7"/>
    <p:sldLayoutId id="2147484226" r:id="rId8"/>
    <p:sldLayoutId id="2147484227" r:id="rId9"/>
    <p:sldLayoutId id="2147484228" r:id="rId10"/>
    <p:sldLayoutId id="2147484229" r:id="rId11"/>
    <p:sldLayoutId id="2147484230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457200"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457200"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457200"/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457200"/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457200"/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457200"/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457200"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457200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457200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457200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043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4" r:id="rId1"/>
    <p:sldLayoutId id="2147484235" r:id="rId2"/>
    <p:sldLayoutId id="2147484236" r:id="rId3"/>
    <p:sldLayoutId id="2147484237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457200"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457200"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457200"/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457200"/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457200"/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457200"/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457200"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457200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457200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457200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17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9" r:id="rId1"/>
    <p:sldLayoutId id="2147484240" r:id="rId2"/>
    <p:sldLayoutId id="2147484241" r:id="rId3"/>
    <p:sldLayoutId id="2147484242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457200"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457200"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457200"/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457200"/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457200"/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457200"/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457200"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457200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457200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457200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382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4" r:id="rId1"/>
    <p:sldLayoutId id="2147484245" r:id="rId2"/>
    <p:sldLayoutId id="2147484246" r:id="rId3"/>
    <p:sldLayoutId id="2147484247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defTabSz="457200"/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defTabSz="457200"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defTabSz="457200"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defTabSz="457200"/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defTabSz="457200"/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457200"/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457200"/>
            <a:fld id="{74850952-3374-434C-8FC6-DE28F8CD25B0}" type="slidenum">
              <a:rPr lang="pt-BR" smtClean="0">
                <a:solidFill>
                  <a:srgbClr val="5F5F5F"/>
                </a:solidFill>
              </a:rPr>
              <a:pPr defTabSz="457200"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4" name="TextBox 12"/>
          <p:cNvSpPr txBox="1"/>
          <p:nvPr userDrawn="1"/>
        </p:nvSpPr>
        <p:spPr>
          <a:xfrm>
            <a:off x="-215658" y="144175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defTabSz="457200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13"/>
          <p:cNvSpPr txBox="1"/>
          <p:nvPr userDrawn="1"/>
        </p:nvSpPr>
        <p:spPr>
          <a:xfrm>
            <a:off x="-215658" y="1754087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defTabSz="457200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14"/>
          <p:cNvSpPr txBox="1"/>
          <p:nvPr userDrawn="1"/>
        </p:nvSpPr>
        <p:spPr>
          <a:xfrm>
            <a:off x="-215658" y="3363998"/>
            <a:ext cx="179146" cy="1440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defTabSz="457200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7" name="TextBox 39"/>
          <p:cNvSpPr txBox="1"/>
          <p:nvPr userDrawn="1"/>
        </p:nvSpPr>
        <p:spPr>
          <a:xfrm>
            <a:off x="-1143613" y="2359334"/>
            <a:ext cx="72000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-1143614" y="309078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-1143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-855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-567614" y="510526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-1143614" y="1051447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-1143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-855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-567614" y="1250172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-1143614" y="1791636"/>
            <a:ext cx="720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-1143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-855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-567614" y="1990361"/>
            <a:ext cx="144000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413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9" r:id="rId1"/>
    <p:sldLayoutId id="2147484250" r:id="rId2"/>
    <p:sldLayoutId id="2147484251" r:id="rId3"/>
    <p:sldLayoutId id="2147484252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227">
              <a:lnSpc>
                <a:spcPts val="1800"/>
              </a:lnSpc>
              <a:spcBef>
                <a:spcPts val="800"/>
              </a:spcBef>
            </a:pPr>
            <a:endParaRPr lang="en-US" sz="1600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147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4" r:id="rId5"/>
    <p:sldLayoutId id="214748402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6227" rtl="0" eaLnBrk="1" latinLnBrk="0" hangingPunct="1">
        <a:lnSpc>
          <a:spcPts val="2399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6227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5838" indent="-175838" algn="l" defTabSz="456227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2494" indent="0" algn="l" defTabSz="456227" rtl="0" eaLnBrk="1" latinLnBrk="0" hangingPunct="1">
        <a:lnSpc>
          <a:spcPts val="2199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68735" indent="0" algn="l" defTabSz="456227" rtl="0" eaLnBrk="1" latinLnBrk="0" hangingPunct="1">
        <a:lnSpc>
          <a:spcPts val="2199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4986" indent="0" algn="l" defTabSz="456227" rtl="0" eaLnBrk="1" latinLnBrk="0" hangingPunct="1">
        <a:lnSpc>
          <a:spcPts val="2199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09326" indent="-228110" algn="l" defTabSz="45622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5582" indent="-228110" algn="l" defTabSz="45622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1825" indent="-228110" algn="l" defTabSz="45622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8065" indent="-228110" algn="l" defTabSz="45622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27" algn="l" defTabSz="456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94" algn="l" defTabSz="456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35" algn="l" defTabSz="456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86" algn="l" defTabSz="456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217" algn="l" defTabSz="456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442" algn="l" defTabSz="456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701" algn="l" defTabSz="456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941" algn="l" defTabSz="4562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685800">
              <a:lnSpc>
                <a:spcPts val="1800"/>
              </a:lnSpc>
              <a:spcBef>
                <a:spcPts val="800"/>
              </a:spcBef>
            </a:pPr>
            <a:endParaRPr lang="en-US" sz="1600" i="1" dirty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3089236" y="16498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800">
              <a:lnSpc>
                <a:spcPts val="5600"/>
              </a:lnSpc>
              <a:spcBef>
                <a:spcPts val="800"/>
              </a:spcBef>
            </a:pPr>
            <a:r>
              <a:rPr lang="en-US" sz="56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800">
              <a:lnSpc>
                <a:spcPts val="2800"/>
              </a:lnSpc>
            </a:pPr>
            <a:r>
              <a:rPr lang="en-US" sz="2800" dirty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685800">
              <a:lnSpc>
                <a:spcPts val="2800"/>
              </a:lnSpc>
            </a:pPr>
            <a:r>
              <a:rPr lang="en-US" sz="28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800">
              <a:lnSpc>
                <a:spcPts val="1400"/>
              </a:lnSpc>
            </a:pPr>
            <a:r>
              <a:rPr lang="en-US" sz="1400" dirty="0" err="1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0008318" y="309079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pt-BR" sz="1200" dirty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685800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85800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85800"/>
            <a:r>
              <a:rPr lang="en-US" sz="1200" dirty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685800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85800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85800"/>
            <a:r>
              <a:rPr lang="en-US" sz="1200" dirty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685800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85800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85800"/>
            <a:r>
              <a:rPr lang="en-US" sz="1200" dirty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685800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85800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85800"/>
            <a:r>
              <a:rPr lang="en-US" sz="1200" dirty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685800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85800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85800"/>
            <a:r>
              <a:rPr lang="en-US" sz="1200" dirty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685800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85800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85800"/>
            <a:r>
              <a:rPr lang="en-US" sz="1200" dirty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0016847" y="1085545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2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</a:p>
        </p:txBody>
      </p:sp>
      <p:sp>
        <p:nvSpPr>
          <p:cNvPr id="76" name="Rectangle 37"/>
          <p:cNvSpPr/>
          <p:nvPr/>
        </p:nvSpPr>
        <p:spPr>
          <a:xfrm>
            <a:off x="10016847" y="53872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189">
              <a:defRPr/>
            </a:pPr>
            <a:r>
              <a:rPr lang="en-US" sz="1200" dirty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</a:p>
        </p:txBody>
      </p:sp>
      <p:sp>
        <p:nvSpPr>
          <p:cNvPr id="77" name="Rectangle 38"/>
          <p:cNvSpPr/>
          <p:nvPr/>
        </p:nvSpPr>
        <p:spPr>
          <a:xfrm>
            <a:off x="10016847" y="1596925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2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</a:p>
        </p:txBody>
      </p:sp>
      <p:sp>
        <p:nvSpPr>
          <p:cNvPr id="78" name="Rectangle 39"/>
          <p:cNvSpPr/>
          <p:nvPr/>
        </p:nvSpPr>
        <p:spPr>
          <a:xfrm>
            <a:off x="10016847" y="2151556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2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</a:p>
        </p:txBody>
      </p:sp>
      <p:sp>
        <p:nvSpPr>
          <p:cNvPr id="79" name="Rectangle 39"/>
          <p:cNvSpPr/>
          <p:nvPr/>
        </p:nvSpPr>
        <p:spPr>
          <a:xfrm>
            <a:off x="10016847" y="270871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200" dirty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</a:p>
        </p:txBody>
      </p:sp>
      <p:sp>
        <p:nvSpPr>
          <p:cNvPr id="80" name="Rectangle 39"/>
          <p:cNvSpPr/>
          <p:nvPr/>
        </p:nvSpPr>
        <p:spPr>
          <a:xfrm>
            <a:off x="10016847" y="328440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200" dirty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314424" y="305320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9314424" y="250437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9314424" y="195555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9314424" y="140672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9314424" y="85790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9314424" y="30908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0016847" y="3843080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200" dirty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9314424" y="3611877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9314427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800">
              <a:spcBef>
                <a:spcPts val="800"/>
              </a:spcBef>
            </a:pPr>
            <a:r>
              <a:rPr lang="en-US" sz="1600" dirty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800">
              <a:spcBef>
                <a:spcPts val="800"/>
              </a:spcBef>
            </a:pPr>
            <a:r>
              <a:rPr lang="en-US" sz="16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553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4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553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4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4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pt-BR" sz="1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818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4" r:id="rId1"/>
    <p:sldLayoutId id="2147484255" r:id="rId2"/>
    <p:sldLayoutId id="2147484256" r:id="rId3"/>
    <p:sldLayoutId id="214748425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89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189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09" indent="-176209" algn="l" defTabSz="457189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378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566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754" indent="0" algn="l" defTabSz="457189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058">
              <a:lnSpc>
                <a:spcPts val="1800"/>
              </a:lnSpc>
              <a:spcBef>
                <a:spcPts val="800"/>
              </a:spcBef>
            </a:pPr>
            <a:endParaRPr lang="en-US" sz="1600" i="1" dirty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3089236" y="16500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58">
              <a:lnSpc>
                <a:spcPts val="5600"/>
              </a:lnSpc>
              <a:spcBef>
                <a:spcPts val="800"/>
              </a:spcBef>
            </a:pPr>
            <a:r>
              <a:rPr lang="en-US" sz="56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58">
              <a:lnSpc>
                <a:spcPts val="2800"/>
              </a:lnSpc>
            </a:pPr>
            <a:r>
              <a:rPr lang="en-US" sz="2800" dirty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457058">
              <a:lnSpc>
                <a:spcPts val="2800"/>
              </a:lnSpc>
            </a:pPr>
            <a:r>
              <a:rPr lang="en-US" sz="28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58">
              <a:lnSpc>
                <a:spcPts val="1400"/>
              </a:lnSpc>
            </a:pPr>
            <a:r>
              <a:rPr lang="en-US" sz="1400" dirty="0" err="1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0008318" y="309079"/>
            <a:ext cx="886632" cy="3600972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/>
          <a:p>
            <a:pPr defTabSz="457058"/>
            <a:r>
              <a:rPr lang="pt-BR" sz="1200" dirty="0">
                <a:solidFill/>
                <a:latin typeface="Simplon BP Regular"/>
                <a:cs typeface="Simplon BP Regular"/>
              </a:rPr>
              <a:t>ROXO</a:t>
            </a:r>
          </a:p>
          <a:p>
            <a:pPr defTabSz="457058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r>
              <a:rPr lang="en-US" sz="1200" dirty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457058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r>
              <a:rPr lang="en-US" sz="1200" dirty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457058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r>
              <a:rPr lang="en-US" sz="1200" dirty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457058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r>
              <a:rPr lang="en-US" sz="1200" dirty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457058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r>
              <a:rPr lang="en-US" sz="1200" dirty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457058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58"/>
            <a:r>
              <a:rPr lang="en-US" sz="1200" dirty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0016847" y="1085563"/>
            <a:ext cx="1356004" cy="276986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/>
          <a:p>
            <a:pPr defTabSz="457058"/>
            <a:r>
              <a:rPr lang="en-US" sz="1200" dirty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</a:p>
        </p:txBody>
      </p:sp>
      <p:sp>
        <p:nvSpPr>
          <p:cNvPr id="76" name="Rectangle 37"/>
          <p:cNvSpPr/>
          <p:nvPr/>
        </p:nvSpPr>
        <p:spPr>
          <a:xfrm>
            <a:off x="10016847" y="538741"/>
            <a:ext cx="1356004" cy="276986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/>
          <a:p>
            <a:pPr defTabSz="457058">
              <a:defRPr/>
            </a:pPr>
            <a:r>
              <a:rPr lang="en-US" sz="1200" dirty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</a:p>
        </p:txBody>
      </p:sp>
      <p:sp>
        <p:nvSpPr>
          <p:cNvPr id="77" name="Rectangle 38"/>
          <p:cNvSpPr/>
          <p:nvPr/>
        </p:nvSpPr>
        <p:spPr>
          <a:xfrm>
            <a:off x="10016847" y="1596928"/>
            <a:ext cx="1356004" cy="276986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/>
          <a:p>
            <a:pPr defTabSz="457058"/>
            <a:r>
              <a:rPr lang="en-US" sz="12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</a:p>
        </p:txBody>
      </p:sp>
      <p:sp>
        <p:nvSpPr>
          <p:cNvPr id="78" name="Rectangle 39"/>
          <p:cNvSpPr/>
          <p:nvPr/>
        </p:nvSpPr>
        <p:spPr>
          <a:xfrm>
            <a:off x="10016847" y="2151574"/>
            <a:ext cx="1356004" cy="276986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/>
          <a:p>
            <a:pPr defTabSz="457058"/>
            <a:r>
              <a:rPr lang="en-US" sz="1200" dirty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</a:p>
        </p:txBody>
      </p:sp>
      <p:sp>
        <p:nvSpPr>
          <p:cNvPr id="79" name="Rectangle 39"/>
          <p:cNvSpPr/>
          <p:nvPr/>
        </p:nvSpPr>
        <p:spPr>
          <a:xfrm>
            <a:off x="10016847" y="2708728"/>
            <a:ext cx="1356004" cy="276986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/>
          <a:p>
            <a:pPr defTabSz="457058"/>
            <a:r>
              <a:rPr lang="en-US" sz="1200" dirty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</a:p>
        </p:txBody>
      </p:sp>
      <p:sp>
        <p:nvSpPr>
          <p:cNvPr id="80" name="Rectangle 39"/>
          <p:cNvSpPr/>
          <p:nvPr/>
        </p:nvSpPr>
        <p:spPr>
          <a:xfrm>
            <a:off x="10016847" y="3284422"/>
            <a:ext cx="1356004" cy="276986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/>
          <a:p>
            <a:pPr defTabSz="457058"/>
            <a:r>
              <a:rPr lang="en-US" sz="1200" dirty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314424" y="305321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9314424" y="250438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9314424" y="195556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9314424" y="14067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9314424" y="85791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9314424" y="30909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0016847" y="3843097"/>
            <a:ext cx="1356004" cy="276986"/>
          </a:xfrm>
          <a:prstGeom prst="rect">
            <a:avLst/>
          </a:prstGeom>
        </p:spPr>
        <p:txBody>
          <a:bodyPr wrap="square" lIns="91418" tIns="45709" rIns="91418" bIns="45709">
            <a:spAutoFit/>
          </a:bodyPr>
          <a:lstStyle/>
          <a:p>
            <a:pPr defTabSz="457058"/>
            <a:r>
              <a:rPr lang="en-US" sz="1200" dirty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9314424" y="3611887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9314435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58">
              <a:spcBef>
                <a:spcPts val="800"/>
              </a:spcBef>
            </a:pPr>
            <a:r>
              <a:rPr lang="en-US" sz="1600" dirty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58">
              <a:spcBef>
                <a:spcPts val="800"/>
              </a:spcBef>
            </a:pPr>
            <a:r>
              <a:rPr lang="en-US" sz="16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566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566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566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457058"/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717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1" r:id="rId1"/>
    <p:sldLayoutId id="2147484262" r:id="rId2"/>
    <p:sldLayoutId id="2147484263" r:id="rId3"/>
    <p:sldLayoutId id="2147484264" r:id="rId4"/>
    <p:sldLayoutId id="2147484265" r:id="rId5"/>
    <p:sldLayoutId id="2147484266" r:id="rId6"/>
    <p:sldLayoutId id="2147484267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58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058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159" indent="-176159" algn="l" defTabSz="457058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130" indent="0" algn="l" defTabSz="457058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192" indent="0" algn="l" defTabSz="457058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259" indent="0" algn="l" defTabSz="457058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3844" indent="-228528" algn="l" defTabSz="4570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2" indent="-228528" algn="l" defTabSz="4570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4" indent="-228528" algn="l" defTabSz="4570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6" indent="-228528" algn="l" defTabSz="4570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30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2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9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6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4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4570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070">
              <a:lnSpc>
                <a:spcPts val="1800"/>
              </a:lnSpc>
              <a:spcBef>
                <a:spcPts val="800"/>
              </a:spcBef>
            </a:pPr>
            <a:endParaRPr lang="en-US" sz="1600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091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7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07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164" indent="-176164" algn="l" defTabSz="45707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153" indent="0" algn="l" defTabSz="45707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226" indent="0" algn="l" defTabSz="45707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304" indent="0" algn="l" defTabSz="45707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3907" indent="-228534" algn="l" defTabSz="45707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86" indent="-228534" algn="l" defTabSz="45707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60" indent="-228534" algn="l" defTabSz="45707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33" indent="-228534" algn="l" defTabSz="45707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70" algn="l" defTabSz="457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53" algn="l" defTabSz="457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26" algn="l" defTabSz="457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04" algn="l" defTabSz="457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73" algn="l" defTabSz="457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43" algn="l" defTabSz="457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20" algn="l" defTabSz="457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94" algn="l" defTabSz="457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082"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3089236" y="16500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82"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82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457082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82"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0008318" y="309079"/>
            <a:ext cx="886632" cy="3600986"/>
          </a:xfrm>
          <a:prstGeom prst="rect">
            <a:avLst/>
          </a:prstGeom>
        </p:spPr>
        <p:txBody>
          <a:bodyPr wrap="square" lIns="91420" tIns="45710" rIns="91420" bIns="45710">
            <a:spAutoFit/>
          </a:bodyPr>
          <a:lstStyle/>
          <a:p>
            <a:pPr defTabSz="457082"/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457082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0016847" y="1085543"/>
            <a:ext cx="1356004" cy="276999"/>
          </a:xfrm>
          <a:prstGeom prst="rect">
            <a:avLst/>
          </a:prstGeom>
        </p:spPr>
        <p:txBody>
          <a:bodyPr wrap="square" lIns="91420" tIns="45710" rIns="91420" bIns="45710">
            <a:spAutoFit/>
          </a:bodyPr>
          <a:lstStyle/>
          <a:p>
            <a:pPr defTabSz="457082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/>
        </p:nvSpPr>
        <p:spPr>
          <a:xfrm>
            <a:off x="10016847" y="538724"/>
            <a:ext cx="1356004" cy="276999"/>
          </a:xfrm>
          <a:prstGeom prst="rect">
            <a:avLst/>
          </a:prstGeom>
        </p:spPr>
        <p:txBody>
          <a:bodyPr wrap="square" lIns="91420" tIns="45710" rIns="91420" bIns="45710">
            <a:spAutoFit/>
          </a:bodyPr>
          <a:lstStyle/>
          <a:p>
            <a:pPr defTabSz="457082"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/>
        </p:nvSpPr>
        <p:spPr>
          <a:xfrm>
            <a:off x="10016847" y="1596923"/>
            <a:ext cx="1356004" cy="276999"/>
          </a:xfrm>
          <a:prstGeom prst="rect">
            <a:avLst/>
          </a:prstGeom>
        </p:spPr>
        <p:txBody>
          <a:bodyPr wrap="square" lIns="91420" tIns="45710" rIns="91420" bIns="45710">
            <a:spAutoFit/>
          </a:bodyPr>
          <a:lstStyle/>
          <a:p>
            <a:pPr defTabSz="457082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/>
        </p:nvSpPr>
        <p:spPr>
          <a:xfrm>
            <a:off x="10016847" y="2151554"/>
            <a:ext cx="1356004" cy="276999"/>
          </a:xfrm>
          <a:prstGeom prst="rect">
            <a:avLst/>
          </a:prstGeom>
        </p:spPr>
        <p:txBody>
          <a:bodyPr wrap="square" lIns="91420" tIns="45710" rIns="91420" bIns="45710">
            <a:spAutoFit/>
          </a:bodyPr>
          <a:lstStyle/>
          <a:p>
            <a:pPr defTabSz="457082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/>
        </p:nvSpPr>
        <p:spPr>
          <a:xfrm>
            <a:off x="10016847" y="2708711"/>
            <a:ext cx="1356004" cy="276999"/>
          </a:xfrm>
          <a:prstGeom prst="rect">
            <a:avLst/>
          </a:prstGeom>
        </p:spPr>
        <p:txBody>
          <a:bodyPr wrap="square" lIns="91420" tIns="45710" rIns="91420" bIns="45710">
            <a:spAutoFit/>
          </a:bodyPr>
          <a:lstStyle/>
          <a:p>
            <a:pPr defTabSz="457082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/>
        </p:nvSpPr>
        <p:spPr>
          <a:xfrm>
            <a:off x="10016847" y="3284402"/>
            <a:ext cx="1356004" cy="276999"/>
          </a:xfrm>
          <a:prstGeom prst="rect">
            <a:avLst/>
          </a:prstGeom>
        </p:spPr>
        <p:txBody>
          <a:bodyPr wrap="square" lIns="91420" tIns="45710" rIns="91420" bIns="45710">
            <a:spAutoFit/>
          </a:bodyPr>
          <a:lstStyle/>
          <a:p>
            <a:pPr defTabSz="457082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314424" y="305320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9314424" y="250438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9314424" y="195556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9314424" y="140673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9314424" y="85791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9314424" y="30908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0016847" y="3843080"/>
            <a:ext cx="1356004" cy="276999"/>
          </a:xfrm>
          <a:prstGeom prst="rect">
            <a:avLst/>
          </a:prstGeom>
        </p:spPr>
        <p:txBody>
          <a:bodyPr wrap="square" lIns="91420" tIns="45710" rIns="91420" bIns="45710">
            <a:spAutoFit/>
          </a:bodyPr>
          <a:lstStyle/>
          <a:p>
            <a:pPr defTabSz="457082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9314424" y="361188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931443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82"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82"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56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56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55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0875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6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82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082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168" indent="-176168" algn="l" defTabSz="457082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175" indent="0" algn="l" defTabSz="457082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260" indent="0" algn="l" defTabSz="457082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349" indent="0" algn="l" defTabSz="457082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3970" indent="-228540" algn="l" defTabSz="4570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60" indent="-228540" algn="l" defTabSz="4570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5" indent="-228540" algn="l" defTabSz="4570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30" indent="-228540" algn="l" defTabSz="4570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2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5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9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0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2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082"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500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82"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82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457082"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82"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9"/>
            <a:ext cx="886632" cy="3600986"/>
          </a:xfrm>
          <a:prstGeom prst="rect">
            <a:avLst/>
          </a:prstGeom>
        </p:spPr>
        <p:txBody>
          <a:bodyPr wrap="square" lIns="91420" tIns="45710" rIns="91420" bIns="45710">
            <a:spAutoFit/>
          </a:bodyPr>
          <a:lstStyle/>
          <a:p>
            <a:pPr defTabSz="457082"/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457082"/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457082"/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7" y="1085543"/>
            <a:ext cx="1356004" cy="276999"/>
          </a:xfrm>
          <a:prstGeom prst="rect">
            <a:avLst/>
          </a:prstGeom>
        </p:spPr>
        <p:txBody>
          <a:bodyPr wrap="square" lIns="91420" tIns="45710" rIns="91420" bIns="45710">
            <a:spAutoFit/>
          </a:bodyPr>
          <a:lstStyle/>
          <a:p>
            <a:pPr defTabSz="457082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7" y="538724"/>
            <a:ext cx="1356004" cy="276999"/>
          </a:xfrm>
          <a:prstGeom prst="rect">
            <a:avLst/>
          </a:prstGeom>
        </p:spPr>
        <p:txBody>
          <a:bodyPr wrap="square" lIns="91420" tIns="45710" rIns="91420" bIns="45710">
            <a:spAutoFit/>
          </a:bodyPr>
          <a:lstStyle/>
          <a:p>
            <a:pPr defTabSz="457082"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7" y="1596923"/>
            <a:ext cx="1356004" cy="276999"/>
          </a:xfrm>
          <a:prstGeom prst="rect">
            <a:avLst/>
          </a:prstGeom>
        </p:spPr>
        <p:txBody>
          <a:bodyPr wrap="square" lIns="91420" tIns="45710" rIns="91420" bIns="45710">
            <a:spAutoFit/>
          </a:bodyPr>
          <a:lstStyle/>
          <a:p>
            <a:pPr defTabSz="457082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7" y="2151554"/>
            <a:ext cx="1356004" cy="276999"/>
          </a:xfrm>
          <a:prstGeom prst="rect">
            <a:avLst/>
          </a:prstGeom>
        </p:spPr>
        <p:txBody>
          <a:bodyPr wrap="square" lIns="91420" tIns="45710" rIns="91420" bIns="45710">
            <a:spAutoFit/>
          </a:bodyPr>
          <a:lstStyle/>
          <a:p>
            <a:pPr defTabSz="457082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7" y="2708711"/>
            <a:ext cx="1356004" cy="276999"/>
          </a:xfrm>
          <a:prstGeom prst="rect">
            <a:avLst/>
          </a:prstGeom>
        </p:spPr>
        <p:txBody>
          <a:bodyPr wrap="square" lIns="91420" tIns="45710" rIns="91420" bIns="45710">
            <a:spAutoFit/>
          </a:bodyPr>
          <a:lstStyle/>
          <a:p>
            <a:pPr defTabSz="457082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7" y="3284402"/>
            <a:ext cx="1356004" cy="276999"/>
          </a:xfrm>
          <a:prstGeom prst="rect">
            <a:avLst/>
          </a:prstGeom>
        </p:spPr>
        <p:txBody>
          <a:bodyPr wrap="square" lIns="91420" tIns="45710" rIns="91420" bIns="45710">
            <a:spAutoFit/>
          </a:bodyPr>
          <a:lstStyle/>
          <a:p>
            <a:pPr defTabSz="457082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20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8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6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3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1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8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7" y="3843080"/>
            <a:ext cx="1356004" cy="276999"/>
          </a:xfrm>
          <a:prstGeom prst="rect">
            <a:avLst/>
          </a:prstGeom>
        </p:spPr>
        <p:txBody>
          <a:bodyPr wrap="square" lIns="91420" tIns="45710" rIns="91420" bIns="45710">
            <a:spAutoFit/>
          </a:bodyPr>
          <a:lstStyle/>
          <a:p>
            <a:pPr defTabSz="457082"/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8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3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82"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7082"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6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6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5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/>
          <a:p>
            <a:pPr defTabSz="457082"/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662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82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082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168" indent="-176168" algn="l" defTabSz="457082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175" indent="0" algn="l" defTabSz="457082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260" indent="0" algn="l" defTabSz="457082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349" indent="0" algn="l" defTabSz="457082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3970" indent="-228540" algn="l" defTabSz="4570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60" indent="-228540" algn="l" defTabSz="4570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5" indent="-228540" algn="l" defTabSz="4570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30" indent="-228540" algn="l" defTabSz="4570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2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5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9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0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2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4570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323">
              <a:lnSpc>
                <a:spcPts val="1800"/>
              </a:lnSpc>
              <a:spcBef>
                <a:spcPts val="800"/>
              </a:spcBef>
            </a:pPr>
            <a:endParaRPr lang="en-US" sz="1600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964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8" r:id="rId5"/>
    <p:sldLayoutId id="214748404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6323" rtl="0" eaLnBrk="1" latinLnBrk="0" hangingPunct="1">
        <a:lnSpc>
          <a:spcPts val="2399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6323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5874" indent="-175874" algn="l" defTabSz="456323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2674" indent="0" algn="l" defTabSz="456323" rtl="0" eaLnBrk="1" latinLnBrk="0" hangingPunct="1">
        <a:lnSpc>
          <a:spcPts val="2199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69007" indent="0" algn="l" defTabSz="456323" rtl="0" eaLnBrk="1" latinLnBrk="0" hangingPunct="1">
        <a:lnSpc>
          <a:spcPts val="2199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5346" indent="0" algn="l" defTabSz="456323" rtl="0" eaLnBrk="1" latinLnBrk="0" hangingPunct="1">
        <a:lnSpc>
          <a:spcPts val="2199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09830" indent="-228158" algn="l" defTabSz="45632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174" indent="-228158" algn="l" defTabSz="45632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2509" indent="-228158" algn="l" defTabSz="45632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8841" indent="-228158" algn="l" defTabSz="45632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3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23" algn="l" defTabSz="4563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674" algn="l" defTabSz="4563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07" algn="l" defTabSz="4563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346" algn="l" defTabSz="4563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673" algn="l" defTabSz="4563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994" algn="l" defTabSz="4563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337" algn="l" defTabSz="4563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669" algn="l" defTabSz="4563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32"/>
          <p:cNvSpPr txBox="1">
            <a:spLocks noChangeArrowheads="1"/>
          </p:cNvSpPr>
          <p:nvPr userDrawn="1"/>
        </p:nvSpPr>
        <p:spPr bwMode="auto">
          <a:xfrm>
            <a:off x="8172423" y="4881591"/>
            <a:ext cx="860476" cy="25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649" tIns="41330" rIns="82649" bIns="41330">
            <a:spAutoFit/>
          </a:bodyPr>
          <a:lstStyle/>
          <a:p>
            <a:pPr algn="ctr" defTabSz="413252" eaLnBrk="0" hangingPunct="0">
              <a:spcBef>
                <a:spcPct val="50000"/>
              </a:spcBef>
              <a:defRPr/>
            </a:pPr>
            <a:r>
              <a:rPr lang="en-US" sz="1100" smtClean="0">
                <a:solidFill>
                  <a:srgbClr val="0099AB"/>
                </a:solidFill>
                <a:latin typeface="Neo Tech Pro" pitchFamily="34" charset="0"/>
                <a:ea typeface="ＭＳ Ｐゴシック" pitchFamily="34" charset="-128"/>
                <a:cs typeface="Arial" pitchFamily="34" charset="0"/>
              </a:rPr>
              <a:t>&gt;&gt; 0</a:t>
            </a:r>
            <a:fld id="{32B6E4E6-CAFA-4F9A-B0B3-C424BB12C6F8}" type="slidenum">
              <a:rPr lang="en-US" sz="1100" smtClean="0">
                <a:solidFill>
                  <a:srgbClr val="0099AB"/>
                </a:solidFill>
                <a:latin typeface="Neo Tech Pro" pitchFamily="34" charset="0"/>
                <a:ea typeface="ＭＳ Ｐゴシック" pitchFamily="34" charset="-128"/>
                <a:cs typeface="Arial" pitchFamily="34" charset="0"/>
              </a:rPr>
              <a:pPr algn="ctr" defTabSz="413252" eaLnBrk="0" hangingPunct="0">
                <a:spcBef>
                  <a:spcPct val="50000"/>
                </a:spcBef>
                <a:defRPr/>
              </a:pPr>
              <a:t>‹nº›</a:t>
            </a:fld>
            <a:endParaRPr lang="en-US" sz="1100" dirty="0">
              <a:solidFill>
                <a:srgbClr val="0099AB"/>
              </a:solidFill>
              <a:latin typeface="Neo Tech Pro" pitchFamily="34" charset="0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4066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5" r:id="rId4"/>
    <p:sldLayoutId id="2147484056" r:id="rId5"/>
    <p:sldLayoutId id="2147484057" r:id="rId6"/>
    <p:sldLayoutId id="2147484058" r:id="rId7"/>
  </p:sldLayoutIdLst>
  <p:hf hdr="0" ftr="0" dt="0"/>
  <p:txStyles>
    <p:titleStyle>
      <a:lvl1pPr algn="l" defTabSz="413252" rtl="0" eaLnBrk="1" latinLnBrk="0" hangingPunct="1">
        <a:lnSpc>
          <a:spcPct val="90000"/>
        </a:lnSpc>
        <a:spcBef>
          <a:spcPct val="0"/>
        </a:spcBef>
        <a:buNone/>
        <a:defRPr sz="4000" kern="1200" baseline="0">
          <a:solidFill>
            <a:srgbClr val="FFFFFF"/>
          </a:solidFill>
          <a:latin typeface="Arial"/>
          <a:ea typeface="+mj-ea"/>
          <a:cs typeface="Arial"/>
        </a:defRPr>
      </a:lvl1pPr>
    </p:titleStyle>
    <p:bodyStyle>
      <a:lvl1pPr marL="0" indent="0" algn="l" defTabSz="413252" rtl="0" eaLnBrk="1" latinLnBrk="0" hangingPunct="1">
        <a:spcBef>
          <a:spcPct val="20000"/>
        </a:spcBef>
        <a:buFont typeface="Arial"/>
        <a:buNone/>
        <a:defRPr sz="1400" kern="1200" baseline="0">
          <a:solidFill>
            <a:srgbClr val="FFFFFF"/>
          </a:solidFill>
          <a:latin typeface="Arial"/>
          <a:ea typeface="+mn-ea"/>
          <a:cs typeface="Arial"/>
        </a:defRPr>
      </a:lvl1pPr>
      <a:lvl2pPr marL="413252" indent="0" algn="l" defTabSz="413252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tx1"/>
          </a:solidFill>
          <a:latin typeface="Arial"/>
          <a:ea typeface="+mn-ea"/>
          <a:cs typeface="Arial"/>
        </a:defRPr>
      </a:lvl2pPr>
      <a:lvl3pPr marL="826517" indent="0" algn="l" defTabSz="413252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1239775" indent="0" algn="l" defTabSz="413252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1653044" indent="0" algn="l" defTabSz="413252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272923" indent="-206626" algn="l" defTabSz="41325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6183" indent="-206626" algn="l" defTabSz="41325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99437" indent="-206626" algn="l" defTabSz="41325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12705" indent="-206626" algn="l" defTabSz="41325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32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3252" algn="l" defTabSz="4132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26517" algn="l" defTabSz="4132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39775" algn="l" defTabSz="4132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53044" algn="l" defTabSz="4132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66297" algn="l" defTabSz="4132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479554" algn="l" defTabSz="4132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892811" algn="l" defTabSz="4132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06071" algn="l" defTabSz="41325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9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0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9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notesSlide" Target="../notesSlides/notesSlide5.xml"/><Relationship Id="rId7" Type="http://schemas.openxmlformats.org/officeDocument/2006/relationships/diagramColors" Target="../diagrams/colors3.xml"/><Relationship Id="rId2" Type="http://schemas.openxmlformats.org/officeDocument/2006/relationships/slideLayout" Target="../slideLayouts/slideLayout192.xml"/><Relationship Id="rId1" Type="http://schemas.openxmlformats.org/officeDocument/2006/relationships/tags" Target="../tags/tag79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76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854" y="131754"/>
            <a:ext cx="4433765" cy="4822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22"/>
          <p:cNvSpPr txBox="1">
            <a:spLocks/>
          </p:cNvSpPr>
          <p:nvPr/>
        </p:nvSpPr>
        <p:spPr>
          <a:xfrm>
            <a:off x="498933" y="1030215"/>
            <a:ext cx="4863568" cy="1696715"/>
          </a:xfrm>
          <a:prstGeom prst="rect">
            <a:avLst/>
          </a:prstGeom>
        </p:spPr>
        <p:txBody>
          <a:bodyPr lIns="68552" tIns="34289" rIns="68552" bIns="34289" anchor="t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ts val="4200"/>
              </a:lnSpc>
              <a:spcBef>
                <a:spcPts val="0"/>
              </a:spcBef>
            </a:pPr>
            <a:r>
              <a:rPr lang="pt-BR" sz="4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Novo </a:t>
            </a:r>
            <a:r>
              <a:rPr lang="pt-BR" sz="4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stema</a:t>
            </a:r>
          </a:p>
          <a:p>
            <a:pPr algn="l">
              <a:lnSpc>
                <a:spcPts val="4200"/>
              </a:lnSpc>
              <a:spcBef>
                <a:spcPts val="0"/>
              </a:spcBef>
            </a:pPr>
            <a:r>
              <a:rPr lang="pt-BR" sz="4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Anti-fraudes</a:t>
            </a:r>
            <a:endParaRPr lang="pt-BR" sz="2800" dirty="0">
              <a:solidFill>
                <a:srgbClr val="00CEFF"/>
              </a:solidFill>
              <a:latin typeface="Simplon Oi Headline"/>
              <a:cs typeface="Simplon Oi Headline"/>
            </a:endParaRPr>
          </a:p>
        </p:txBody>
      </p:sp>
      <p:pic>
        <p:nvPicPr>
          <p:cNvPr id="53760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8286" y="0"/>
            <a:ext cx="96948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760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61" y="3737671"/>
            <a:ext cx="2594501" cy="1386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22"/>
          <p:cNvSpPr txBox="1">
            <a:spLocks/>
          </p:cNvSpPr>
          <p:nvPr/>
        </p:nvSpPr>
        <p:spPr>
          <a:xfrm>
            <a:off x="1175262" y="2741196"/>
            <a:ext cx="4853840" cy="1696715"/>
          </a:xfrm>
          <a:prstGeom prst="rect">
            <a:avLst/>
          </a:prstGeom>
        </p:spPr>
        <p:txBody>
          <a:bodyPr lIns="68552" tIns="34289" rIns="68552" bIns="34289" anchor="t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ts val="4200"/>
              </a:lnSpc>
              <a:spcBef>
                <a:spcPts val="0"/>
              </a:spcBef>
            </a:pPr>
            <a:r>
              <a:rPr lang="pt-BR" sz="3200" dirty="0" smtClean="0">
                <a:solidFill>
                  <a:schemeClr val="accent6">
                    <a:lumMod val="75000"/>
                  </a:schemeClr>
                </a:solidFill>
                <a:latin typeface="Simplon Oi Headline"/>
                <a:cs typeface="Simplon Oi Headline"/>
              </a:rPr>
              <a:t>Planejamento</a:t>
            </a:r>
          </a:p>
          <a:p>
            <a:pPr algn="l">
              <a:lnSpc>
                <a:spcPts val="4200"/>
              </a:lnSpc>
              <a:spcBef>
                <a:spcPts val="0"/>
              </a:spcBef>
            </a:pPr>
            <a:r>
              <a:rPr lang="pt-BR" sz="3200" dirty="0" smtClean="0">
                <a:solidFill>
                  <a:schemeClr val="accent6">
                    <a:lumMod val="75000"/>
                  </a:schemeClr>
                </a:solidFill>
                <a:latin typeface="Simplon Oi Headline"/>
                <a:cs typeface="Simplon Oi Headline"/>
              </a:rPr>
              <a:t>inicial</a:t>
            </a:r>
            <a:endParaRPr lang="pt-BR" sz="2000" dirty="0">
              <a:solidFill>
                <a:schemeClr val="accent6">
                  <a:lumMod val="75000"/>
                </a:schemeClr>
              </a:solidFill>
              <a:latin typeface="Simplon Oi Headline"/>
              <a:cs typeface="Simplon Oi Headline"/>
            </a:endParaRPr>
          </a:p>
        </p:txBody>
      </p:sp>
    </p:spTree>
    <p:extLst>
      <p:ext uri="{BB962C8B-B14F-4D97-AF65-F5344CB8AC3E}">
        <p14:creationId xmlns:p14="http://schemas.microsoft.com/office/powerpoint/2010/main" val="1863860324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aixaDeTexto 32"/>
          <p:cNvSpPr txBox="1"/>
          <p:nvPr/>
        </p:nvSpPr>
        <p:spPr>
          <a:xfrm>
            <a:off x="194315" y="953621"/>
            <a:ext cx="10245599" cy="3691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628650" lvl="1" indent="-171450" defTabSz="457200">
              <a:lnSpc>
                <a:spcPts val="900"/>
              </a:lnSpc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1100" b="1" kern="1000" dirty="0" smtClean="0">
                <a:solidFill>
                  <a:prstClr val="black"/>
                </a:solidFill>
                <a:latin typeface="Simplon BP Regular" pitchFamily="2" charset="0"/>
              </a:rPr>
              <a:t>Falta de recursos em Fraude  para gerenciar o projeto</a:t>
            </a:r>
            <a:endParaRPr lang="pt-BR" sz="1100" b="1" kern="1000" dirty="0">
              <a:solidFill>
                <a:prstClr val="black"/>
              </a:solidFill>
              <a:latin typeface="Simplon BP Regular" pitchFamily="2" charset="0"/>
            </a:endParaRPr>
          </a:p>
          <a:p>
            <a:pPr marL="457200" lvl="1" defTabSz="457200">
              <a:lnSpc>
                <a:spcPts val="900"/>
              </a:lnSpc>
              <a:spcBef>
                <a:spcPts val="800"/>
              </a:spcBef>
            </a:pPr>
            <a:r>
              <a:rPr lang="pt-BR" sz="1050" kern="1000" dirty="0" smtClean="0">
                <a:solidFill>
                  <a:prstClr val="black"/>
                </a:solidFill>
                <a:latin typeface="Simplon BP Regular" pitchFamily="2" charset="0"/>
              </a:rPr>
              <a:t>- Alocar Kleyton e Rodrigo Cesar 100% no projeto (necessidade de redistribuir Modelo de Propensão a JEC)</a:t>
            </a:r>
            <a:endParaRPr lang="pt-BR" sz="1050" kern="1000" dirty="0">
              <a:solidFill>
                <a:prstClr val="black"/>
              </a:solidFill>
              <a:latin typeface="Simplon BP Regular" pitchFamily="2" charset="0"/>
            </a:endParaRPr>
          </a:p>
          <a:p>
            <a:pPr marL="628650" lvl="1" indent="-171450" defTabSz="457200">
              <a:lnSpc>
                <a:spcPts val="900"/>
              </a:lnSpc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1050" b="1" kern="1000" dirty="0" smtClean="0">
                <a:solidFill>
                  <a:prstClr val="black"/>
                </a:solidFill>
                <a:latin typeface="Simplon BP Regular" pitchFamily="2" charset="0"/>
              </a:rPr>
              <a:t>Áreas mandatórias no Projeto: </a:t>
            </a:r>
            <a:endParaRPr lang="pt-BR" sz="1050" b="1" kern="1000" dirty="0">
              <a:solidFill>
                <a:prstClr val="black"/>
              </a:solidFill>
              <a:latin typeface="Simplon BP Regular" pitchFamily="2" charset="0"/>
            </a:endParaRPr>
          </a:p>
          <a:p>
            <a:pPr marL="628650" lvl="1" indent="-171450" defTabSz="457200">
              <a:lnSpc>
                <a:spcPts val="900"/>
              </a:lnSpc>
              <a:spcBef>
                <a:spcPts val="800"/>
              </a:spcBef>
              <a:buFontTx/>
              <a:buChar char="-"/>
            </a:pPr>
            <a:r>
              <a:rPr lang="pt-BR" sz="1050" u="sng" kern="1000" dirty="0" smtClean="0">
                <a:solidFill>
                  <a:prstClr val="black"/>
                </a:solidFill>
                <a:latin typeface="Simplon BP Regular" pitchFamily="2" charset="0"/>
              </a:rPr>
              <a:t>Auditoria de vendas</a:t>
            </a:r>
            <a:r>
              <a:rPr lang="pt-BR" sz="1050" kern="1000" dirty="0" smtClean="0">
                <a:solidFill>
                  <a:prstClr val="black"/>
                </a:solidFill>
                <a:latin typeface="Simplon BP Regular" pitchFamily="2" charset="0"/>
              </a:rPr>
              <a:t>: - Suporte para alteração necessárias no processo de venda e melhor punição dos vendedores ruins</a:t>
            </a:r>
          </a:p>
          <a:p>
            <a:pPr marL="628650" lvl="1" indent="-171450" defTabSz="457200">
              <a:lnSpc>
                <a:spcPts val="900"/>
              </a:lnSpc>
              <a:spcBef>
                <a:spcPts val="800"/>
              </a:spcBef>
              <a:buFontTx/>
              <a:buChar char="-"/>
            </a:pPr>
            <a:r>
              <a:rPr lang="pt-BR" sz="1050" u="sng" kern="1000" dirty="0" smtClean="0">
                <a:solidFill>
                  <a:prstClr val="black"/>
                </a:solidFill>
                <a:latin typeface="Simplon BP Regular" pitchFamily="2" charset="0"/>
              </a:rPr>
              <a:t>Digital:</a:t>
            </a:r>
            <a:r>
              <a:rPr lang="pt-BR" sz="1050" kern="1000" dirty="0" smtClean="0">
                <a:solidFill>
                  <a:prstClr val="black"/>
                </a:solidFill>
                <a:latin typeface="Simplon BP Regular" pitchFamily="2" charset="0"/>
              </a:rPr>
              <a:t> Garantir prevenção dos novos canais de venda</a:t>
            </a:r>
            <a:endParaRPr lang="pt-BR" sz="1050" u="sng" kern="10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pPr marL="628650" lvl="1" indent="-171450" defTabSz="457200">
              <a:lnSpc>
                <a:spcPts val="900"/>
              </a:lnSpc>
              <a:spcBef>
                <a:spcPts val="800"/>
              </a:spcBef>
              <a:buFontTx/>
              <a:buChar char="-"/>
            </a:pPr>
            <a:r>
              <a:rPr lang="pt-BR" sz="1050" u="sng" kern="1000" dirty="0" smtClean="0">
                <a:solidFill>
                  <a:prstClr val="black"/>
                </a:solidFill>
                <a:latin typeface="Simplon BP Regular" pitchFamily="2" charset="0"/>
              </a:rPr>
              <a:t>Produtos B2C:</a:t>
            </a:r>
            <a:r>
              <a:rPr lang="pt-BR" sz="1050" kern="1000" dirty="0" smtClean="0">
                <a:solidFill>
                  <a:prstClr val="black"/>
                </a:solidFill>
                <a:latin typeface="Simplon BP Regular" pitchFamily="2" charset="0"/>
              </a:rPr>
              <a:t> ??</a:t>
            </a:r>
          </a:p>
          <a:p>
            <a:pPr marL="628650" lvl="1" indent="-171450" defTabSz="457200">
              <a:lnSpc>
                <a:spcPts val="900"/>
              </a:lnSpc>
              <a:spcBef>
                <a:spcPts val="800"/>
              </a:spcBef>
              <a:buFontTx/>
              <a:buChar char="-"/>
            </a:pPr>
            <a:r>
              <a:rPr lang="pt-BR" sz="1050" u="sng" kern="1000" dirty="0" smtClean="0">
                <a:solidFill>
                  <a:prstClr val="black"/>
                </a:solidFill>
                <a:latin typeface="Simplon BP Regular" pitchFamily="2" charset="0"/>
              </a:rPr>
              <a:t>Crédito e UTC</a:t>
            </a:r>
            <a:r>
              <a:rPr lang="pt-BR" sz="1050" kern="1000" dirty="0" smtClean="0">
                <a:solidFill>
                  <a:prstClr val="black"/>
                </a:solidFill>
                <a:latin typeface="Simplon BP Regular" pitchFamily="2" charset="0"/>
              </a:rPr>
              <a:t>: - Ganho de produtividade nas </a:t>
            </a:r>
            <a:r>
              <a:rPr lang="pt-BR" sz="1050" kern="1000" dirty="0" err="1" smtClean="0">
                <a:solidFill>
                  <a:prstClr val="black"/>
                </a:solidFill>
                <a:latin typeface="Simplon BP Regular" pitchFamily="2" charset="0"/>
              </a:rPr>
              <a:t>PAs</a:t>
            </a:r>
            <a:endParaRPr lang="pt-BR" sz="1050" kern="10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pPr marL="628650" lvl="1" indent="-171450" defTabSz="457200">
              <a:lnSpc>
                <a:spcPts val="900"/>
              </a:lnSpc>
              <a:spcBef>
                <a:spcPts val="800"/>
              </a:spcBef>
              <a:buFontTx/>
              <a:buChar char="-"/>
            </a:pPr>
            <a:endParaRPr lang="pt-BR" sz="1050" kern="10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pPr marL="628650" lvl="1" indent="-171450" defTabSz="457200">
              <a:lnSpc>
                <a:spcPts val="900"/>
              </a:lnSpc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1050" b="1" kern="1000" dirty="0" smtClean="0">
                <a:solidFill>
                  <a:prstClr val="black"/>
                </a:solidFill>
                <a:latin typeface="Simplon BP Regular" pitchFamily="2" charset="0"/>
              </a:rPr>
              <a:t>Time </a:t>
            </a:r>
            <a:r>
              <a:rPr lang="pt-BR" sz="1050" b="1" kern="1000" dirty="0" err="1" smtClean="0">
                <a:solidFill>
                  <a:prstClr val="black"/>
                </a:solidFill>
                <a:latin typeface="Simplon BP Regular" pitchFamily="2" charset="0"/>
              </a:rPr>
              <a:t>WeDo</a:t>
            </a:r>
            <a:endParaRPr lang="pt-BR" sz="1050" b="1" kern="1000" dirty="0">
              <a:solidFill>
                <a:prstClr val="black"/>
              </a:solidFill>
              <a:latin typeface="Simplon BP Regular" pitchFamily="2" charset="0"/>
            </a:endParaRPr>
          </a:p>
          <a:p>
            <a:pPr marL="457200" lvl="1" defTabSz="457200">
              <a:lnSpc>
                <a:spcPts val="900"/>
              </a:lnSpc>
              <a:spcBef>
                <a:spcPts val="800"/>
              </a:spcBef>
            </a:pPr>
            <a:r>
              <a:rPr lang="pt-BR" sz="1050" kern="1000" dirty="0" smtClean="0">
                <a:solidFill>
                  <a:prstClr val="black"/>
                </a:solidFill>
                <a:latin typeface="Simplon BP Regular" pitchFamily="2" charset="0"/>
              </a:rPr>
              <a:t>- KNOW HOW </a:t>
            </a:r>
            <a:r>
              <a:rPr lang="pt-BR" sz="1050" kern="1000" dirty="0" err="1" smtClean="0">
                <a:solidFill>
                  <a:prstClr val="black"/>
                </a:solidFill>
                <a:latin typeface="Simplon BP Regular" pitchFamily="2" charset="0"/>
              </a:rPr>
              <a:t>WeDo</a:t>
            </a:r>
            <a:r>
              <a:rPr lang="pt-BR" sz="1050" kern="1000" dirty="0" smtClean="0">
                <a:solidFill>
                  <a:prstClr val="black"/>
                </a:solidFill>
                <a:latin typeface="Simplon BP Regular" pitchFamily="2" charset="0"/>
              </a:rPr>
              <a:t> para Fraude com especialista em Portugal. Garantir alocação destes recursos</a:t>
            </a:r>
          </a:p>
          <a:p>
            <a:pPr marL="457200" lvl="1" defTabSz="457200">
              <a:lnSpc>
                <a:spcPts val="900"/>
              </a:lnSpc>
              <a:spcBef>
                <a:spcPts val="800"/>
              </a:spcBef>
            </a:pPr>
            <a:r>
              <a:rPr lang="pt-BR" sz="1050" kern="1000" dirty="0" smtClean="0">
                <a:solidFill>
                  <a:prstClr val="black"/>
                </a:solidFill>
                <a:latin typeface="Simplon BP Regular" pitchFamily="2" charset="0"/>
              </a:rPr>
              <a:t>- Separar time Upgrade ICS de Fraude</a:t>
            </a:r>
          </a:p>
          <a:p>
            <a:pPr marL="457200" lvl="1" defTabSz="457200">
              <a:lnSpc>
                <a:spcPts val="900"/>
              </a:lnSpc>
              <a:spcBef>
                <a:spcPts val="800"/>
              </a:spcBef>
            </a:pPr>
            <a:r>
              <a:rPr lang="pt-BR" sz="1050" kern="1000" dirty="0" smtClean="0">
                <a:solidFill>
                  <a:prstClr val="black"/>
                </a:solidFill>
                <a:latin typeface="Simplon BP Regular" pitchFamily="2" charset="0"/>
              </a:rPr>
              <a:t>- </a:t>
            </a:r>
          </a:p>
        </p:txBody>
      </p:sp>
      <p:sp>
        <p:nvSpPr>
          <p:cNvPr id="7" name="Title 22"/>
          <p:cNvSpPr txBox="1">
            <a:spLocks/>
          </p:cNvSpPr>
          <p:nvPr/>
        </p:nvSpPr>
        <p:spPr>
          <a:xfrm>
            <a:off x="139169" y="4060"/>
            <a:ext cx="9144000" cy="528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800" i="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Plataforma </a:t>
            </a:r>
            <a:r>
              <a:rPr lang="pt-BR" sz="2800" i="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antispam</a:t>
            </a:r>
            <a:endParaRPr lang="en-US" sz="2800" i="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30" name="Retângulo 29"/>
          <p:cNvSpPr/>
          <p:nvPr/>
        </p:nvSpPr>
        <p:spPr>
          <a:xfrm>
            <a:off x="139169" y="532541"/>
            <a:ext cx="8875265" cy="4490586"/>
          </a:xfrm>
          <a:prstGeom prst="rect">
            <a:avLst/>
          </a:prstGeom>
          <a:noFill/>
          <a:ln>
            <a:solidFill>
              <a:srgbClr val="7030A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31" name="Title 22"/>
          <p:cNvSpPr txBox="1">
            <a:spLocks/>
          </p:cNvSpPr>
          <p:nvPr/>
        </p:nvSpPr>
        <p:spPr>
          <a:xfrm>
            <a:off x="179808" y="425141"/>
            <a:ext cx="8073957" cy="528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en-US" sz="2000" i="0" dirty="0" err="1" smtClean="0">
                <a:solidFill>
                  <a:srgbClr val="089E9E"/>
                </a:solidFill>
                <a:latin typeface="Simplon Oi Headline"/>
                <a:cs typeface="Simplon Oi Headline"/>
              </a:rPr>
              <a:t>pessoas</a:t>
            </a:r>
            <a:endParaRPr lang="en-US" sz="2000" i="0" dirty="0">
              <a:solidFill>
                <a:srgbClr val="089E9E"/>
              </a:solidFill>
              <a:latin typeface="Simplon Oi Headline"/>
              <a:cs typeface="Simplon Oi Headline"/>
            </a:endParaRPr>
          </a:p>
        </p:txBody>
      </p:sp>
    </p:spTree>
    <p:extLst>
      <p:ext uri="{BB962C8B-B14F-4D97-AF65-F5344CB8AC3E}">
        <p14:creationId xmlns:p14="http://schemas.microsoft.com/office/powerpoint/2010/main" val="30019758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944880" y="1442720"/>
            <a:ext cx="7101840" cy="20929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600" i="1" dirty="0" smtClean="0">
              <a:latin typeface="Georgia" pitchFamily="18" charset="0"/>
            </a:endParaRPr>
          </a:p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7200" i="1" dirty="0" smtClean="0">
                <a:latin typeface="Georgia" pitchFamily="18" charset="0"/>
              </a:rPr>
              <a:t>BACKUP</a:t>
            </a:r>
            <a:endParaRPr lang="pt-BR" sz="1600" i="1" dirty="0" smtClean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2001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2000" dirty="0" smtClean="0">
                <a:solidFill>
                  <a:schemeClr val="accent1"/>
                </a:solidFill>
              </a:rPr>
              <a:t>planejamos um </a:t>
            </a:r>
            <a:r>
              <a:rPr lang="pt-BR" sz="2000" i="1" dirty="0" err="1" smtClean="0">
                <a:solidFill>
                  <a:schemeClr val="accent1"/>
                </a:solidFill>
              </a:rPr>
              <a:t>roadmap</a:t>
            </a:r>
            <a:r>
              <a:rPr lang="pt-BR" sz="2000" i="1" dirty="0" smtClean="0">
                <a:solidFill>
                  <a:schemeClr val="accent1"/>
                </a:solidFill>
              </a:rPr>
              <a:t> </a:t>
            </a:r>
            <a:r>
              <a:rPr lang="pt-BR" sz="2000" dirty="0" smtClean="0">
                <a:solidFill>
                  <a:schemeClr val="accent1"/>
                </a:solidFill>
              </a:rPr>
              <a:t> priorizando os principais problemas e benefícios mapeados até o momento.</a:t>
            </a:r>
            <a:endParaRPr lang="pt-BR" sz="2000" dirty="0">
              <a:solidFill>
                <a:schemeClr val="accent1"/>
              </a:solidFill>
            </a:endParaRPr>
          </a:p>
        </p:txBody>
      </p:sp>
      <p:pic>
        <p:nvPicPr>
          <p:cNvPr id="42" name="Diagrama 24"/>
          <p:cNvPicPr>
            <a:picLocks noChangeArrowheads="1"/>
          </p:cNvPicPr>
          <p:nvPr/>
        </p:nvPicPr>
        <p:blipFill>
          <a:blip r:embed="rId3" cstate="print"/>
          <a:srcRect b="7692"/>
          <a:stretch>
            <a:fillRect/>
          </a:stretch>
        </p:blipFill>
        <p:spPr bwMode="auto">
          <a:xfrm>
            <a:off x="2464693" y="1769268"/>
            <a:ext cx="5156200" cy="27368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44" name="Text Box 73"/>
          <p:cNvSpPr txBox="1">
            <a:spLocks noChangeArrowheads="1"/>
          </p:cNvSpPr>
          <p:nvPr/>
        </p:nvSpPr>
        <p:spPr bwMode="auto">
          <a:xfrm>
            <a:off x="3770387" y="3572668"/>
            <a:ext cx="50687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defTabSz="457200">
              <a:defRPr/>
            </a:pPr>
            <a:r>
              <a:rPr lang="en-US" sz="800" b="1" dirty="0" err="1" smtClean="0">
                <a:solidFill>
                  <a:srgbClr val="000000"/>
                </a:solidFill>
              </a:rPr>
              <a:t>Fase</a:t>
            </a:r>
            <a:r>
              <a:rPr lang="en-US" sz="800" b="1" dirty="0" smtClean="0">
                <a:solidFill>
                  <a:srgbClr val="000000"/>
                </a:solidFill>
              </a:rPr>
              <a:t> 1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46" name="Text Box 75"/>
          <p:cNvSpPr txBox="1">
            <a:spLocks noChangeArrowheads="1"/>
          </p:cNvSpPr>
          <p:nvPr/>
        </p:nvSpPr>
        <p:spPr bwMode="auto">
          <a:xfrm>
            <a:off x="4422080" y="3174206"/>
            <a:ext cx="50687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defTabSz="457200">
              <a:defRPr/>
            </a:pPr>
            <a:r>
              <a:rPr lang="en-US" sz="800" b="1" dirty="0" err="1" smtClean="0">
                <a:solidFill>
                  <a:srgbClr val="000000"/>
                </a:solidFill>
              </a:rPr>
              <a:t>Fase</a:t>
            </a:r>
            <a:r>
              <a:rPr lang="en-US" sz="800" b="1" dirty="0" smtClean="0">
                <a:solidFill>
                  <a:srgbClr val="000000"/>
                </a:solidFill>
              </a:rPr>
              <a:t> 2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47" name="Text Box 77"/>
          <p:cNvSpPr txBox="1">
            <a:spLocks noChangeArrowheads="1"/>
          </p:cNvSpPr>
          <p:nvPr/>
        </p:nvSpPr>
        <p:spPr bwMode="auto">
          <a:xfrm>
            <a:off x="5179318" y="2885281"/>
            <a:ext cx="50687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defTabSz="457200">
              <a:defRPr/>
            </a:pPr>
            <a:r>
              <a:rPr lang="pt-BR" sz="800" b="1" dirty="0" smtClean="0">
                <a:solidFill>
                  <a:srgbClr val="000000"/>
                </a:solidFill>
              </a:rPr>
              <a:t>Fase 3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48" name="Text Box 78"/>
          <p:cNvSpPr txBox="1">
            <a:spLocks noChangeArrowheads="1"/>
          </p:cNvSpPr>
          <p:nvPr/>
        </p:nvSpPr>
        <p:spPr bwMode="auto">
          <a:xfrm>
            <a:off x="5768347" y="2704158"/>
            <a:ext cx="94158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 defTabSz="457200">
              <a:defRPr/>
            </a:pPr>
            <a:r>
              <a:rPr lang="en-US" sz="800" b="1" dirty="0" err="1" smtClean="0">
                <a:solidFill>
                  <a:srgbClr val="000000"/>
                </a:solidFill>
              </a:rPr>
              <a:t>Ondas</a:t>
            </a:r>
            <a:r>
              <a:rPr lang="en-US" sz="800" b="1" dirty="0" smtClean="0">
                <a:solidFill>
                  <a:srgbClr val="000000"/>
                </a:solidFill>
              </a:rPr>
              <a:t> de </a:t>
            </a:r>
            <a:r>
              <a:rPr lang="en-US" sz="800" b="1" dirty="0" err="1" smtClean="0">
                <a:solidFill>
                  <a:srgbClr val="000000"/>
                </a:solidFill>
              </a:rPr>
              <a:t>evolução</a:t>
            </a:r>
            <a:r>
              <a:rPr lang="en-US" sz="800" b="1" dirty="0" smtClean="0">
                <a:solidFill>
                  <a:srgbClr val="000000"/>
                </a:solidFill>
              </a:rPr>
              <a:t/>
            </a:r>
            <a:br>
              <a:rPr lang="en-US" sz="800" b="1" dirty="0" smtClean="0">
                <a:solidFill>
                  <a:srgbClr val="000000"/>
                </a:solidFill>
              </a:rPr>
            </a:br>
            <a:r>
              <a:rPr lang="en-US" sz="800" b="1" dirty="0" err="1" smtClean="0">
                <a:solidFill>
                  <a:srgbClr val="000000"/>
                </a:solidFill>
              </a:rPr>
              <a:t>contínua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49" name="Text Box 109"/>
          <p:cNvSpPr txBox="1">
            <a:spLocks noChangeArrowheads="1"/>
          </p:cNvSpPr>
          <p:nvPr/>
        </p:nvSpPr>
        <p:spPr bwMode="auto">
          <a:xfrm>
            <a:off x="3131840" y="4230936"/>
            <a:ext cx="1765300" cy="12311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92075" indent="-92075" algn="ctr" defTabSz="457200">
              <a:lnSpc>
                <a:spcPct val="80000"/>
              </a:lnSpc>
              <a:spcBef>
                <a:spcPct val="3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lang="pt-BR" sz="1000" b="1" dirty="0">
                <a:solidFill>
                  <a:srgbClr val="1D04D6"/>
                </a:solidFill>
                <a:latin typeface="Georgia" pitchFamily="18" charset="0"/>
              </a:rPr>
              <a:t>Situação atual</a:t>
            </a:r>
            <a:endParaRPr lang="pt-BR" sz="1000" dirty="0">
              <a:solidFill>
                <a:srgbClr val="1D04D6"/>
              </a:solidFill>
              <a:latin typeface="Georgia" pitchFamily="18" charset="0"/>
            </a:endParaRPr>
          </a:p>
        </p:txBody>
      </p:sp>
      <p:sp>
        <p:nvSpPr>
          <p:cNvPr id="52" name="Text Box 109"/>
          <p:cNvSpPr txBox="1">
            <a:spLocks noChangeArrowheads="1"/>
          </p:cNvSpPr>
          <p:nvPr/>
        </p:nvSpPr>
        <p:spPr bwMode="auto">
          <a:xfrm>
            <a:off x="7001768" y="1715667"/>
            <a:ext cx="1890712" cy="109414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92075" indent="-92075" algn="ctr" defTabSz="457200">
              <a:lnSpc>
                <a:spcPct val="80000"/>
              </a:lnSpc>
              <a:spcBef>
                <a:spcPct val="30000"/>
              </a:spcBef>
              <a:buClr>
                <a:srgbClr val="000000"/>
              </a:buClr>
              <a:defRPr/>
            </a:pPr>
            <a:endParaRPr lang="pt-BR" sz="1200" b="1" i="1" dirty="0">
              <a:solidFill>
                <a:srgbClr val="00D318">
                  <a:lumMod val="75000"/>
                </a:srgbClr>
              </a:solidFill>
            </a:endParaRPr>
          </a:p>
          <a:p>
            <a:pPr marL="92075" indent="-92075" algn="ctr" defTabSz="457200">
              <a:lnSpc>
                <a:spcPct val="80000"/>
              </a:lnSpc>
              <a:spcBef>
                <a:spcPct val="30000"/>
              </a:spcBef>
              <a:buClr>
                <a:srgbClr val="000000"/>
              </a:buClr>
              <a:defRPr/>
            </a:pPr>
            <a:r>
              <a:rPr lang="pt-BR" sz="1200" b="1" i="1" dirty="0" smtClean="0">
                <a:solidFill>
                  <a:srgbClr val="00D318">
                    <a:lumMod val="75000"/>
                  </a:srgbClr>
                </a:solidFill>
              </a:rPr>
              <a:t>Visão futura de TI</a:t>
            </a:r>
            <a:endParaRPr lang="pt-BR" sz="1200" b="1" i="1" dirty="0">
              <a:solidFill>
                <a:srgbClr val="00D318">
                  <a:lumMod val="75000"/>
                </a:srgbClr>
              </a:solidFill>
            </a:endParaRPr>
          </a:p>
          <a:p>
            <a:pPr marL="92075" indent="-92075" algn="ctr" defTabSz="457200">
              <a:lnSpc>
                <a:spcPct val="80000"/>
              </a:lnSpc>
              <a:spcBef>
                <a:spcPct val="30000"/>
              </a:spcBef>
              <a:buClr>
                <a:srgbClr val="000000"/>
              </a:buClr>
              <a:defRPr/>
            </a:pPr>
            <a:r>
              <a:rPr lang="pt-BR" sz="1050" i="1" dirty="0" smtClean="0">
                <a:solidFill>
                  <a:srgbClr val="00D318">
                    <a:lumMod val="75000"/>
                  </a:srgbClr>
                </a:solidFill>
              </a:rPr>
              <a:t>Redução de perdas, valor </a:t>
            </a:r>
            <a:r>
              <a:rPr lang="pt-BR" sz="1050" i="1" dirty="0">
                <a:solidFill>
                  <a:srgbClr val="00D318">
                    <a:lumMod val="75000"/>
                  </a:srgbClr>
                </a:solidFill>
              </a:rPr>
              <a:t>agregado ao </a:t>
            </a:r>
            <a:r>
              <a:rPr lang="pt-BR" sz="1050" i="1" dirty="0" smtClean="0">
                <a:solidFill>
                  <a:srgbClr val="00D318">
                    <a:lumMod val="75000"/>
                  </a:srgbClr>
                </a:solidFill>
              </a:rPr>
              <a:t>negócio, agilidade, flexibilidade e</a:t>
            </a:r>
            <a:br>
              <a:rPr lang="pt-BR" sz="1050" i="1" dirty="0" smtClean="0">
                <a:solidFill>
                  <a:srgbClr val="00D318">
                    <a:lumMod val="75000"/>
                  </a:srgbClr>
                </a:solidFill>
              </a:rPr>
            </a:br>
            <a:r>
              <a:rPr lang="pt-BR" sz="1050" i="1" dirty="0" smtClean="0">
                <a:solidFill>
                  <a:srgbClr val="00D318">
                    <a:lumMod val="75000"/>
                  </a:srgbClr>
                </a:solidFill>
              </a:rPr>
              <a:t>inovação </a:t>
            </a:r>
            <a:r>
              <a:rPr lang="pt-BR" sz="1050" i="1" dirty="0">
                <a:solidFill>
                  <a:srgbClr val="00D318">
                    <a:lumMod val="75000"/>
                  </a:srgbClr>
                </a:solidFill>
              </a:rPr>
              <a:t>t</a:t>
            </a:r>
            <a:r>
              <a:rPr lang="pt-BR" sz="1050" i="1" dirty="0" smtClean="0">
                <a:solidFill>
                  <a:srgbClr val="00D318">
                    <a:lumMod val="75000"/>
                  </a:srgbClr>
                </a:solidFill>
              </a:rPr>
              <a:t>ecnológica</a:t>
            </a:r>
            <a:endParaRPr lang="pt-BR" sz="1050" i="1" dirty="0">
              <a:solidFill>
                <a:srgbClr val="00D318">
                  <a:lumMod val="75000"/>
                </a:srgbClr>
              </a:solidFill>
            </a:endParaRPr>
          </a:p>
          <a:p>
            <a:pPr marL="92075" indent="-92075" algn="ctr" defTabSz="457200">
              <a:lnSpc>
                <a:spcPct val="80000"/>
              </a:lnSpc>
              <a:spcBef>
                <a:spcPct val="30000"/>
              </a:spcBef>
              <a:buClr>
                <a:srgbClr val="000000"/>
              </a:buClr>
              <a:defRPr/>
            </a:pPr>
            <a:endParaRPr lang="pt-BR" sz="1050" i="1" dirty="0">
              <a:solidFill>
                <a:srgbClr val="00D318">
                  <a:lumMod val="75000"/>
                </a:srgbClr>
              </a:solidFill>
            </a:endParaRPr>
          </a:p>
        </p:txBody>
      </p:sp>
      <p:sp>
        <p:nvSpPr>
          <p:cNvPr id="53" name="TextBox 22"/>
          <p:cNvSpPr txBox="1"/>
          <p:nvPr/>
        </p:nvSpPr>
        <p:spPr>
          <a:xfrm>
            <a:off x="435292" y="3115562"/>
            <a:ext cx="1869877" cy="1685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defTabSz="457200">
              <a:defRPr/>
            </a:pPr>
            <a:r>
              <a:rPr lang="pt-BR" sz="1050" b="1" dirty="0" smtClean="0">
                <a:solidFill>
                  <a:srgbClr val="CC5200"/>
                </a:solidFill>
                <a:latin typeface="Georgia" pitchFamily="18" charset="0"/>
              </a:rPr>
              <a:t>Evolução</a:t>
            </a:r>
          </a:p>
          <a:p>
            <a:pPr indent="-274320" defTabSz="457200">
              <a:defRPr/>
            </a:pPr>
            <a:endParaRPr lang="pt-BR" sz="1050" b="1" dirty="0">
              <a:solidFill>
                <a:srgbClr val="CC5200"/>
              </a:solidFill>
              <a:latin typeface="Georgia" pitchFamily="18" charset="0"/>
            </a:endParaRPr>
          </a:p>
          <a:p>
            <a:pPr indent="-274320" defTabSz="457200"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Eliminação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de serviços de terceiros para tráfego e análise de crédito (1 MM por ano)</a:t>
            </a:r>
            <a:br>
              <a:rPr lang="pt-BR" sz="1000" dirty="0">
                <a:solidFill>
                  <a:srgbClr val="CC5200"/>
                </a:solidFill>
                <a:latin typeface="Georgia" pitchFamily="18" charset="0"/>
              </a:rPr>
            </a:b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Unificação da análise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fraudes de </a:t>
            </a:r>
            <a:r>
              <a:rPr lang="pt-BR" sz="1000" dirty="0" err="1">
                <a:solidFill>
                  <a:srgbClr val="CC5200"/>
                </a:solidFill>
                <a:latin typeface="Georgia" pitchFamily="18" charset="0"/>
              </a:rPr>
              <a:t>Cobilling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, Internacional, Roaming e BOs de </a:t>
            </a: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análise para todos os produtos e regiões</a:t>
            </a:r>
          </a:p>
          <a:p>
            <a:pPr indent="-274320" defTabSz="457200"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Redução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de custos de OPEX de sistemas (1 MM por ano</a:t>
            </a: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)</a:t>
            </a:r>
            <a:endParaRPr lang="pt-BR" sz="1000" dirty="0">
              <a:solidFill>
                <a:srgbClr val="CC5200"/>
              </a:solidFill>
              <a:latin typeface="Georgia" pitchFamily="18" charset="0"/>
            </a:endParaRPr>
          </a:p>
          <a:p>
            <a:pPr indent="-274320" defTabSz="457200">
              <a:defRPr/>
            </a:pPr>
            <a:endParaRPr lang="pt-BR" sz="900" dirty="0">
              <a:solidFill>
                <a:srgbClr val="CC5200"/>
              </a:solidFill>
              <a:latin typeface="Georgia" pitchFamily="18" charset="0"/>
            </a:endParaRPr>
          </a:p>
        </p:txBody>
      </p:sp>
      <p:sp>
        <p:nvSpPr>
          <p:cNvPr id="54" name="TextBox 23"/>
          <p:cNvSpPr txBox="1"/>
          <p:nvPr/>
        </p:nvSpPr>
        <p:spPr>
          <a:xfrm>
            <a:off x="435293" y="1481691"/>
            <a:ext cx="2032967" cy="1328434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defTabSz="457200">
              <a:defRPr/>
            </a:pPr>
            <a:r>
              <a:rPr lang="pt-BR" sz="1050" b="1" i="1" dirty="0" smtClean="0">
                <a:solidFill>
                  <a:srgbClr val="CC5200"/>
                </a:solidFill>
                <a:latin typeface="Georgia" pitchFamily="18" charset="0"/>
              </a:rPr>
              <a:t>Quickwins</a:t>
            </a:r>
            <a:endParaRPr lang="pt-BR" sz="1050" b="1" i="1" dirty="0">
              <a:solidFill>
                <a:srgbClr val="CC5200"/>
              </a:solidFill>
              <a:latin typeface="Georgia" pitchFamily="18" charset="0"/>
            </a:endParaRPr>
          </a:p>
          <a:p>
            <a:pPr indent="-274320" defTabSz="457200">
              <a:defRPr/>
            </a:pPr>
            <a:endParaRPr lang="pt-BR" sz="1000" dirty="0">
              <a:solidFill>
                <a:srgbClr val="CC5200"/>
              </a:solidFill>
              <a:latin typeface="Georgia" pitchFamily="18" charset="0"/>
            </a:endParaRPr>
          </a:p>
          <a:p>
            <a:pPr indent="-274320" defTabSz="457200"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Redução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de Fraude: R$ 15-20MM </a:t>
            </a: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A.A</a:t>
            </a:r>
            <a:endParaRPr lang="pt-BR" sz="1000" dirty="0">
              <a:solidFill>
                <a:srgbClr val="CC5200"/>
              </a:solidFill>
              <a:latin typeface="Georgia" pitchFamily="18" charset="0"/>
            </a:endParaRPr>
          </a:p>
          <a:p>
            <a:pPr indent="-274320" defTabSz="457200"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Integração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Fraudes de TV e Fixo R2 (JEC -30%; Instalação -30%) </a:t>
            </a:r>
          </a:p>
          <a:p>
            <a:pPr indent="-274320" defTabSz="457200">
              <a:defRPr/>
            </a:pPr>
            <a:r>
              <a:rPr lang="pt-BR" sz="1000" dirty="0" smtClean="0">
                <a:solidFill>
                  <a:srgbClr val="CC5200"/>
                </a:solidFill>
                <a:latin typeface="Georgia" pitchFamily="18" charset="0"/>
              </a:rPr>
              <a:t>- Melhoria </a:t>
            </a:r>
            <a:r>
              <a:rPr lang="pt-BR" sz="1000" dirty="0">
                <a:solidFill>
                  <a:srgbClr val="CC5200"/>
                </a:solidFill>
                <a:latin typeface="Georgia" pitchFamily="18" charset="0"/>
              </a:rPr>
              <a:t>Móvel + Fixa R1 (JEC -15%; Instalação -15%) </a:t>
            </a:r>
            <a:endParaRPr lang="pt-BR" sz="1000" dirty="0" smtClean="0">
              <a:solidFill>
                <a:srgbClr val="CC5200"/>
              </a:solidFill>
              <a:latin typeface="Georgia" pitchFamily="18" charset="0"/>
            </a:endParaRPr>
          </a:p>
          <a:p>
            <a:pPr indent="-274320" defTabSz="457200">
              <a:defRPr/>
            </a:pPr>
            <a:endParaRPr lang="pt-BR" sz="1000" dirty="0">
              <a:solidFill>
                <a:srgbClr val="CC5200"/>
              </a:solidFill>
              <a:latin typeface="Georgia" pitchFamily="18" charset="0"/>
            </a:endParaRPr>
          </a:p>
        </p:txBody>
      </p:sp>
      <p:cxnSp>
        <p:nvCxnSpPr>
          <p:cNvPr id="55" name="Straight Arrow Connector 41"/>
          <p:cNvCxnSpPr>
            <a:cxnSpLocks noChangeShapeType="1"/>
          </p:cNvCxnSpPr>
          <p:nvPr/>
        </p:nvCxnSpPr>
        <p:spPr bwMode="auto">
          <a:xfrm flipV="1">
            <a:off x="2788543" y="1453356"/>
            <a:ext cx="0" cy="331152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56" name="Straight Arrow Connector 43"/>
          <p:cNvCxnSpPr>
            <a:cxnSpLocks noChangeShapeType="1"/>
          </p:cNvCxnSpPr>
          <p:nvPr/>
        </p:nvCxnSpPr>
        <p:spPr bwMode="auto">
          <a:xfrm>
            <a:off x="2788543" y="4768056"/>
            <a:ext cx="453707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sp>
        <p:nvSpPr>
          <p:cNvPr id="60" name="TextBox 47"/>
          <p:cNvSpPr txBox="1">
            <a:spLocks noChangeArrowheads="1"/>
          </p:cNvSpPr>
          <p:nvPr/>
        </p:nvSpPr>
        <p:spPr bwMode="auto">
          <a:xfrm>
            <a:off x="2356743" y="1059656"/>
            <a:ext cx="8763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indent="-273050" algn="ctr" defTabSz="457200"/>
            <a:r>
              <a:rPr lang="pt-BR" sz="900" b="1">
                <a:solidFill>
                  <a:srgbClr val="000000"/>
                </a:solidFill>
                <a:latin typeface="Georgia" pitchFamily="18" charset="0"/>
              </a:rPr>
              <a:t>Valor de TI ao negócio</a:t>
            </a:r>
            <a:endParaRPr lang="pt-BR" sz="70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6" name="TextBox 48"/>
          <p:cNvSpPr txBox="1">
            <a:spLocks noChangeArrowheads="1"/>
          </p:cNvSpPr>
          <p:nvPr/>
        </p:nvSpPr>
        <p:spPr bwMode="auto">
          <a:xfrm>
            <a:off x="7325618" y="4696618"/>
            <a:ext cx="876300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indent="-273050" algn="ctr" defTabSz="457200"/>
            <a:r>
              <a:rPr lang="pt-BR" sz="900" b="1">
                <a:solidFill>
                  <a:srgbClr val="000000"/>
                </a:solidFill>
                <a:latin typeface="Georgia" pitchFamily="18" charset="0"/>
              </a:rPr>
              <a:t>Tempo</a:t>
            </a:r>
            <a:endParaRPr lang="pt-BR" sz="70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67" name="Straight Connector 51"/>
          <p:cNvCxnSpPr>
            <a:cxnSpLocks noChangeShapeType="1"/>
          </p:cNvCxnSpPr>
          <p:nvPr/>
        </p:nvCxnSpPr>
        <p:spPr bwMode="auto">
          <a:xfrm>
            <a:off x="4372868" y="4696618"/>
            <a:ext cx="0" cy="179388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70" name="Text Box 109"/>
          <p:cNvSpPr txBox="1">
            <a:spLocks noChangeArrowheads="1"/>
          </p:cNvSpPr>
          <p:nvPr/>
        </p:nvSpPr>
        <p:spPr bwMode="auto">
          <a:xfrm>
            <a:off x="3650376" y="2118840"/>
            <a:ext cx="1079898" cy="43088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2075" indent="-92075" algn="ctr" defTabSz="457200">
              <a:lnSpc>
                <a:spcPct val="80000"/>
              </a:lnSpc>
              <a:spcBef>
                <a:spcPct val="3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lang="pt-BR" sz="800" b="1" i="1" dirty="0" smtClean="0">
                <a:solidFill>
                  <a:srgbClr val="000000"/>
                </a:solidFill>
                <a:latin typeface="Georgia" pitchFamily="18" charset="0"/>
              </a:rPr>
              <a:t>As Is</a:t>
            </a:r>
            <a:r>
              <a:rPr lang="pt-BR" sz="800" b="1" dirty="0" smtClean="0">
                <a:solidFill>
                  <a:srgbClr val="000000"/>
                </a:solidFill>
                <a:latin typeface="Georgia" pitchFamily="18" charset="0"/>
              </a:rPr>
              <a:t> de Fraudes de Cadastro e Tráfego</a:t>
            </a:r>
          </a:p>
          <a:p>
            <a:pPr marL="92075" indent="-92075" algn="ctr" defTabSz="457200">
              <a:lnSpc>
                <a:spcPct val="80000"/>
              </a:lnSpc>
              <a:spcBef>
                <a:spcPct val="3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lang="pt-BR" sz="800" dirty="0" smtClean="0">
                <a:solidFill>
                  <a:srgbClr val="000000"/>
                </a:solidFill>
                <a:latin typeface="Georgia" pitchFamily="18" charset="0"/>
              </a:rPr>
              <a:t/>
            </a:r>
            <a:br>
              <a:rPr lang="pt-BR" sz="800" dirty="0" smtClean="0">
                <a:solidFill>
                  <a:srgbClr val="000000"/>
                </a:solidFill>
                <a:latin typeface="Georgia" pitchFamily="18" charset="0"/>
              </a:rPr>
            </a:br>
            <a:r>
              <a:rPr lang="pt-BR" sz="800" dirty="0" smtClean="0">
                <a:solidFill>
                  <a:srgbClr val="9F37FE">
                    <a:lumMod val="50000"/>
                  </a:srgbClr>
                </a:solidFill>
                <a:latin typeface="Georgia" pitchFamily="18" charset="0"/>
              </a:rPr>
              <a:t>6 a 8 meses</a:t>
            </a:r>
            <a:endParaRPr lang="pt-BR" sz="800" dirty="0">
              <a:solidFill>
                <a:srgbClr val="9F37FE">
                  <a:lumMod val="50000"/>
                </a:srgbClr>
              </a:solidFill>
              <a:latin typeface="Georgia" pitchFamily="18" charset="0"/>
            </a:endParaRPr>
          </a:p>
        </p:txBody>
      </p:sp>
      <p:sp>
        <p:nvSpPr>
          <p:cNvPr id="80" name="Text Box 109"/>
          <p:cNvSpPr txBox="1">
            <a:spLocks noChangeArrowheads="1"/>
          </p:cNvSpPr>
          <p:nvPr/>
        </p:nvSpPr>
        <p:spPr bwMode="auto">
          <a:xfrm>
            <a:off x="2977885" y="2832400"/>
            <a:ext cx="1082848" cy="39395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2075" indent="-92075" algn="ctr" defTabSz="457200">
              <a:lnSpc>
                <a:spcPct val="80000"/>
              </a:lnSpc>
              <a:spcBef>
                <a:spcPct val="3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lang="pt-BR" sz="800" b="1" i="1" dirty="0" smtClean="0">
                <a:solidFill>
                  <a:srgbClr val="000000"/>
                </a:solidFill>
                <a:latin typeface="Georgia" pitchFamily="18" charset="0"/>
              </a:rPr>
              <a:t>Unificar Prevenção na Venda</a:t>
            </a:r>
            <a:r>
              <a:rPr lang="pt-BR" sz="800" b="1" dirty="0" smtClean="0">
                <a:solidFill>
                  <a:srgbClr val="000000"/>
                </a:solidFill>
                <a:latin typeface="Georgia" pitchFamily="18" charset="0"/>
              </a:rPr>
              <a:t/>
            </a:r>
            <a:br>
              <a:rPr lang="pt-BR" sz="800" b="1" dirty="0" smtClean="0">
                <a:solidFill>
                  <a:srgbClr val="000000"/>
                </a:solidFill>
                <a:latin typeface="Georgia" pitchFamily="18" charset="0"/>
              </a:rPr>
            </a:br>
            <a:r>
              <a:rPr lang="pt-BR" sz="800" b="1" dirty="0" smtClean="0">
                <a:solidFill>
                  <a:srgbClr val="000000"/>
                </a:solidFill>
                <a:latin typeface="Georgia" pitchFamily="18" charset="0"/>
              </a:rPr>
              <a:t>(</a:t>
            </a:r>
            <a:r>
              <a:rPr lang="pt-BR" sz="800" dirty="0" smtClean="0">
                <a:solidFill>
                  <a:srgbClr val="000000"/>
                </a:solidFill>
                <a:latin typeface="Georgia" pitchFamily="18" charset="0"/>
              </a:rPr>
              <a:t>Fixo R2, TV e Fibra )</a:t>
            </a:r>
            <a:br>
              <a:rPr lang="pt-BR" sz="800" dirty="0" smtClean="0">
                <a:solidFill>
                  <a:srgbClr val="000000"/>
                </a:solidFill>
                <a:latin typeface="Georgia" pitchFamily="18" charset="0"/>
              </a:rPr>
            </a:br>
            <a:r>
              <a:rPr lang="pt-BR" sz="800" dirty="0" smtClean="0">
                <a:solidFill>
                  <a:srgbClr val="9F37FE">
                    <a:lumMod val="50000"/>
                  </a:srgbClr>
                </a:solidFill>
                <a:latin typeface="Georgia" pitchFamily="18" charset="0"/>
              </a:rPr>
              <a:t>8 a 12 meses</a:t>
            </a:r>
            <a:endParaRPr lang="pt-BR" sz="800" dirty="0">
              <a:solidFill>
                <a:srgbClr val="9F37FE">
                  <a:lumMod val="50000"/>
                </a:srgbClr>
              </a:solidFill>
              <a:latin typeface="Georgia" pitchFamily="18" charset="0"/>
            </a:endParaRPr>
          </a:p>
        </p:txBody>
      </p:sp>
      <p:sp>
        <p:nvSpPr>
          <p:cNvPr id="81" name="Text Box 109"/>
          <p:cNvSpPr txBox="1">
            <a:spLocks noChangeArrowheads="1"/>
          </p:cNvSpPr>
          <p:nvPr/>
        </p:nvSpPr>
        <p:spPr bwMode="auto">
          <a:xfrm>
            <a:off x="4827780" y="1458877"/>
            <a:ext cx="1084709" cy="82484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2075" indent="-92075" algn="ctr" defTabSz="457200">
              <a:lnSpc>
                <a:spcPct val="80000"/>
              </a:lnSpc>
              <a:spcBef>
                <a:spcPct val="3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lang="pt-BR" sz="800" b="1" dirty="0" smtClean="0">
                <a:solidFill>
                  <a:srgbClr val="000000"/>
                </a:solidFill>
                <a:latin typeface="Georgia" pitchFamily="18" charset="0"/>
              </a:rPr>
              <a:t>Sistemas Legados</a:t>
            </a:r>
            <a:r>
              <a:rPr lang="pt-BR" sz="800" dirty="0">
                <a:solidFill>
                  <a:srgbClr val="000000"/>
                </a:solidFill>
                <a:latin typeface="Georgia" pitchFamily="18" charset="0"/>
              </a:rPr>
              <a:t> </a:t>
            </a:r>
            <a:r>
              <a:rPr lang="pt-BR" sz="800" b="1" dirty="0" smtClean="0">
                <a:solidFill>
                  <a:srgbClr val="000000"/>
                </a:solidFill>
                <a:latin typeface="Georgia" pitchFamily="18" charset="0"/>
              </a:rPr>
              <a:t>e demais </a:t>
            </a:r>
            <a:r>
              <a:rPr lang="pt-BR" sz="800" b="1" i="1" dirty="0" smtClean="0">
                <a:solidFill>
                  <a:srgbClr val="000000"/>
                </a:solidFill>
                <a:latin typeface="Georgia" pitchFamily="18" charset="0"/>
              </a:rPr>
              <a:t>GAP’s</a:t>
            </a:r>
            <a:r>
              <a:rPr lang="pt-BR" sz="800" b="1" dirty="0" smtClean="0">
                <a:solidFill>
                  <a:srgbClr val="000000"/>
                </a:solidFill>
                <a:latin typeface="Georgia" pitchFamily="18" charset="0"/>
              </a:rPr>
              <a:t> </a:t>
            </a:r>
            <a:r>
              <a:rPr lang="pt-BR" sz="800" dirty="0" smtClean="0">
                <a:solidFill>
                  <a:srgbClr val="000000"/>
                </a:solidFill>
                <a:latin typeface="Georgia" pitchFamily="18" charset="0"/>
              </a:rPr>
              <a:t>(Descontinuação do Wiseminer, gestão e análise de crédito e evolução da  Gestão de Fraude Interna )</a:t>
            </a:r>
          </a:p>
          <a:p>
            <a:pPr marL="92075" indent="-92075" algn="ctr" defTabSz="457200">
              <a:lnSpc>
                <a:spcPct val="80000"/>
              </a:lnSpc>
              <a:spcBef>
                <a:spcPct val="3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lang="pt-BR" sz="800" dirty="0" smtClean="0">
                <a:solidFill>
                  <a:srgbClr val="9F37FE">
                    <a:lumMod val="50000"/>
                  </a:srgbClr>
                </a:solidFill>
                <a:latin typeface="Georgia" pitchFamily="18" charset="0"/>
              </a:rPr>
              <a:t>8 a 12 meses</a:t>
            </a:r>
          </a:p>
        </p:txBody>
      </p:sp>
      <p:sp>
        <p:nvSpPr>
          <p:cNvPr id="84" name="Text Box 109"/>
          <p:cNvSpPr txBox="1">
            <a:spLocks noChangeArrowheads="1"/>
          </p:cNvSpPr>
          <p:nvPr/>
        </p:nvSpPr>
        <p:spPr bwMode="auto">
          <a:xfrm>
            <a:off x="5862809" y="1136530"/>
            <a:ext cx="1229471" cy="2954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2075" indent="-92075" algn="ctr" defTabSz="457200">
              <a:lnSpc>
                <a:spcPct val="80000"/>
              </a:lnSpc>
              <a:spcBef>
                <a:spcPct val="30000"/>
              </a:spcBef>
              <a:buClr>
                <a:srgbClr val="000000"/>
              </a:buClr>
              <a:buFont typeface="Wingdings" pitchFamily="2" charset="2"/>
              <a:buNone/>
            </a:pPr>
            <a:r>
              <a:rPr lang="pt-BR" sz="800" b="1" dirty="0" smtClean="0">
                <a:solidFill>
                  <a:srgbClr val="000000"/>
                </a:solidFill>
                <a:latin typeface="Georgia" pitchFamily="18" charset="0"/>
              </a:rPr>
              <a:t>Jornada Digital </a:t>
            </a:r>
            <a:r>
              <a:rPr lang="pt-BR" sz="800" dirty="0" smtClean="0">
                <a:solidFill>
                  <a:srgbClr val="000000"/>
                </a:solidFill>
                <a:latin typeface="Georgia" pitchFamily="18" charset="0"/>
              </a:rPr>
              <a:t>(Competências de gestão de  fraudes </a:t>
            </a:r>
            <a:r>
              <a:rPr lang="pt-BR" sz="800" i="1" dirty="0" smtClean="0">
                <a:solidFill>
                  <a:srgbClr val="000000"/>
                </a:solidFill>
                <a:latin typeface="Georgia" pitchFamily="18" charset="0"/>
              </a:rPr>
              <a:t>OTT</a:t>
            </a:r>
            <a:r>
              <a:rPr lang="pt-BR" sz="800" dirty="0" smtClean="0">
                <a:solidFill>
                  <a:srgbClr val="000000"/>
                </a:solidFill>
                <a:latin typeface="Georgia" pitchFamily="18" charset="0"/>
              </a:rPr>
              <a:t>)</a:t>
            </a:r>
            <a:endParaRPr lang="pt-BR" sz="800" b="1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3272799" y="4819530"/>
            <a:ext cx="649784" cy="21120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defTabSz="457200"/>
            <a:r>
              <a:rPr lang="pt-BR" sz="900" b="1" i="1" dirty="0" err="1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Quickwins</a:t>
            </a:r>
            <a:endParaRPr lang="pt-BR" sz="900" b="1" i="1" dirty="0" smtClean="0">
              <a:solidFill>
                <a:srgbClr val="0000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85" name="CaixaDeTexto 84"/>
          <p:cNvSpPr txBox="1"/>
          <p:nvPr/>
        </p:nvSpPr>
        <p:spPr>
          <a:xfrm>
            <a:off x="5605233" y="4819530"/>
            <a:ext cx="585664" cy="21120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defTabSz="457200"/>
            <a:r>
              <a:rPr lang="pt-BR" sz="900" b="1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Evolução</a:t>
            </a:r>
          </a:p>
        </p:txBody>
      </p:sp>
    </p:spTree>
    <p:extLst>
      <p:ext uri="{BB962C8B-B14F-4D97-AF65-F5344CB8AC3E}">
        <p14:creationId xmlns:p14="http://schemas.microsoft.com/office/powerpoint/2010/main" val="387957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dirty="0" smtClean="0">
                <a:solidFill>
                  <a:schemeClr val="accent1"/>
                </a:solidFill>
              </a:rPr>
              <a:t>MACROCRONOGRAMA </a:t>
            </a:r>
            <a:r>
              <a:rPr lang="en-US" sz="2000" dirty="0" err="1" smtClean="0">
                <a:solidFill>
                  <a:schemeClr val="accent1"/>
                </a:solidFill>
              </a:rPr>
              <a:t>inicial</a:t>
            </a:r>
            <a:r>
              <a:rPr lang="en-US" sz="2000" dirty="0" smtClean="0">
                <a:solidFill>
                  <a:schemeClr val="accent1"/>
                </a:solidFill>
              </a:rPr>
              <a:t/>
            </a:r>
            <a:br>
              <a:rPr lang="en-US" sz="2000" dirty="0" smtClean="0">
                <a:solidFill>
                  <a:schemeClr val="accent1"/>
                </a:solidFill>
              </a:rPr>
            </a:b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283772" y="4803998"/>
            <a:ext cx="216000" cy="180000"/>
          </a:xfrm>
          <a:prstGeom prst="rect">
            <a:avLst/>
          </a:prstGeom>
          <a:solidFill>
            <a:srgbClr val="FF6D00"/>
          </a:solidFill>
          <a:ln w="12700" cap="flat" cmpd="sng" algn="ctr">
            <a:solidFill>
              <a:srgbClr val="E98B33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000" kern="0" dirty="0" smtClean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4" name="Text Placeholder 11"/>
          <p:cNvSpPr txBox="1">
            <a:spLocks/>
          </p:cNvSpPr>
          <p:nvPr/>
        </p:nvSpPr>
        <p:spPr>
          <a:xfrm>
            <a:off x="523017" y="4805937"/>
            <a:ext cx="720000" cy="17612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/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188912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365125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365125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541338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541337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717550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71755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893763" algn="l"/>
              </a:tabLst>
              <a:defRPr lang="pt-BR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 sz="1000" dirty="0" smtClean="0">
                <a:solidFill>
                  <a:srgbClr val="E98B33"/>
                </a:solidFill>
              </a:rPr>
              <a:t>Em curso</a:t>
            </a:r>
          </a:p>
        </p:txBody>
      </p:sp>
      <p:sp>
        <p:nvSpPr>
          <p:cNvPr id="5" name="Retângulo 4"/>
          <p:cNvSpPr/>
          <p:nvPr/>
        </p:nvSpPr>
        <p:spPr>
          <a:xfrm>
            <a:off x="1075860" y="4803998"/>
            <a:ext cx="216000" cy="180000"/>
          </a:xfrm>
          <a:prstGeom prst="rect">
            <a:avLst/>
          </a:prstGeom>
          <a:solidFill>
            <a:srgbClr val="EA288C"/>
          </a:solidFill>
          <a:ln w="12700" cap="flat" cmpd="sng" algn="ctr">
            <a:solidFill>
              <a:srgbClr val="AD3186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000" kern="0" dirty="0" smtClean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6" name="Text Placeholder 11"/>
          <p:cNvSpPr txBox="1">
            <a:spLocks/>
          </p:cNvSpPr>
          <p:nvPr/>
        </p:nvSpPr>
        <p:spPr>
          <a:xfrm>
            <a:off x="1324630" y="4805937"/>
            <a:ext cx="720000" cy="17612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/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188912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365125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365125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541338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541337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717550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71755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893763" algn="l"/>
              </a:tabLst>
              <a:defRPr lang="pt-BR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 sz="1000" dirty="0" smtClean="0">
                <a:solidFill>
                  <a:srgbClr val="AD3186"/>
                </a:solidFill>
              </a:rPr>
              <a:t>Concluído</a:t>
            </a:r>
          </a:p>
        </p:txBody>
      </p:sp>
      <p:sp>
        <p:nvSpPr>
          <p:cNvPr id="7" name="Retângulo 6"/>
          <p:cNvSpPr/>
          <p:nvPr/>
        </p:nvSpPr>
        <p:spPr>
          <a:xfrm>
            <a:off x="1925077" y="4803998"/>
            <a:ext cx="216000" cy="180000"/>
          </a:xfrm>
          <a:prstGeom prst="rect">
            <a:avLst/>
          </a:prstGeom>
          <a:solidFill>
            <a:srgbClr val="439E9F"/>
          </a:solidFill>
          <a:ln w="12700" cap="flat" cmpd="sng" algn="ctr">
            <a:solidFill>
              <a:srgbClr val="439E9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000" kern="0" dirty="0" smtClean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8" name="Text Placeholder 11"/>
          <p:cNvSpPr txBox="1">
            <a:spLocks/>
          </p:cNvSpPr>
          <p:nvPr/>
        </p:nvSpPr>
        <p:spPr>
          <a:xfrm>
            <a:off x="2173847" y="4805937"/>
            <a:ext cx="720000" cy="17612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/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188912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365125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365125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541338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541337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717550" algn="l"/>
              </a:tabLst>
              <a:defRPr lang="es-ES_tradnl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71755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None/>
              <a:tabLst>
                <a:tab pos="893763" algn="l"/>
              </a:tabLst>
              <a:defRPr lang="pt-BR" sz="2100" kern="1200">
                <a:solidFill>
                  <a:schemeClr val="accent3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 sz="1000" dirty="0" smtClean="0">
                <a:solidFill>
                  <a:srgbClr val="439E9F"/>
                </a:solidFill>
              </a:rPr>
              <a:t>Planejado</a:t>
            </a:r>
          </a:p>
        </p:txBody>
      </p:sp>
      <p:graphicFrame>
        <p:nvGraphicFramePr>
          <p:cNvPr id="11" name="Tabe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0901103"/>
              </p:ext>
            </p:extLst>
          </p:nvPr>
        </p:nvGraphicFramePr>
        <p:xfrm>
          <a:off x="271398" y="794988"/>
          <a:ext cx="8568947" cy="3711039"/>
        </p:xfrm>
        <a:graphic>
          <a:graphicData uri="http://schemas.openxmlformats.org/drawingml/2006/table">
            <a:tbl>
              <a:tblPr/>
              <a:tblGrid>
                <a:gridCol w="2700720"/>
                <a:gridCol w="287593"/>
                <a:gridCol w="317551"/>
                <a:gridCol w="305567"/>
                <a:gridCol w="305567"/>
                <a:gridCol w="323542"/>
                <a:gridCol w="293585"/>
                <a:gridCol w="257637"/>
                <a:gridCol w="275609"/>
                <a:gridCol w="293585"/>
                <a:gridCol w="311559"/>
                <a:gridCol w="311559"/>
                <a:gridCol w="293585"/>
                <a:gridCol w="311559"/>
                <a:gridCol w="281602"/>
                <a:gridCol w="263628"/>
                <a:gridCol w="281602"/>
                <a:gridCol w="275609"/>
                <a:gridCol w="275609"/>
                <a:gridCol w="297180"/>
                <a:gridCol w="304499"/>
              </a:tblGrid>
              <a:tr h="24627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Out</a:t>
                      </a:r>
                      <a:endParaRPr lang="pt-BR" sz="11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 dirty="0" err="1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Nov</a:t>
                      </a:r>
                      <a:endParaRPr lang="pt-BR" sz="11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Dez</a:t>
                      </a:r>
                      <a:endParaRPr lang="pt-BR" sz="11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Jan</a:t>
                      </a:r>
                      <a:endParaRPr lang="pt-BR" sz="11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pt-BR" sz="11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 dirty="0" err="1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Fev</a:t>
                      </a:r>
                      <a:endParaRPr lang="pt-BR" sz="11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</a:tr>
              <a:tr h="24109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Atividade</a:t>
                      </a: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03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10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17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24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31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07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14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21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28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05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12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19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26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02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09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16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23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30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06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Simplon BP Regular"/>
                        </a:rPr>
                        <a:t>13</a:t>
                      </a: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5959"/>
                    </a:solidFill>
                  </a:tcPr>
                </a:tc>
              </a:tr>
              <a:tr h="198505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Planejamento e detalhamento da RFP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</a:tr>
              <a:tr h="201211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Apresentação e aprovação</a:t>
                      </a:r>
                      <a:r>
                        <a:rPr lang="pt-B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 do planejament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288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01211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Levantamento dos requisitos (funcionais e técnicos)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pt-BR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pt-BR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D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98505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Detalhamento da RFP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D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98505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Revisão - Contratos de TI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98505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Go - Suprimentos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15538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Envio da RFP e realização das </a:t>
                      </a:r>
                      <a:r>
                        <a:rPr lang="pt-BR" sz="900" b="0" i="0" u="none" strike="noStrike" dirty="0" err="1" smtClean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POC’s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</a:tr>
              <a:tr h="206624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Envio da RFP</a:t>
                      </a:r>
                      <a:r>
                        <a:rPr lang="pt-B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 para o mercad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  <a:endParaRPr lang="pt-B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Simplon BP Regular"/>
                        <a:ea typeface="+mn-ea"/>
                        <a:cs typeface="+mn-cs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98505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Rodadas para questionamentos dos fornecedores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98505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Recebimento e análise</a:t>
                      </a:r>
                      <a:r>
                        <a:rPr lang="pt-B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 das propostas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98505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POC’s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15538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Relatório final e contratação</a:t>
                      </a:r>
                      <a:endParaRPr lang="pt-BR" sz="900" b="0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</a:tr>
              <a:tr h="198505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Avaliação das </a:t>
                      </a:r>
                      <a:r>
                        <a:rPr lang="pt-B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POC’s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98505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Geração do RAT para Suprimentos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98505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Negociação comercial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98505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Definição da soluçã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implon BP Regular"/>
                        </a:rPr>
                        <a:t> </a:t>
                      </a: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/>
                      </a:endParaRPr>
                    </a:p>
                  </a:txBody>
                  <a:tcPr marL="4919" marR="4919" marT="4919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riângulo isósceles 1"/>
          <p:cNvSpPr/>
          <p:nvPr/>
        </p:nvSpPr>
        <p:spPr>
          <a:xfrm>
            <a:off x="5204298" y="1867711"/>
            <a:ext cx="252919" cy="214008"/>
          </a:xfrm>
          <a:prstGeom prst="triangle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12" name="Triângulo isósceles 11"/>
          <p:cNvSpPr/>
          <p:nvPr/>
        </p:nvSpPr>
        <p:spPr>
          <a:xfrm>
            <a:off x="6660204" y="3051243"/>
            <a:ext cx="252919" cy="214008"/>
          </a:xfrm>
          <a:prstGeom prst="triangle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13" name="Triângulo isósceles 12"/>
          <p:cNvSpPr/>
          <p:nvPr/>
        </p:nvSpPr>
        <p:spPr>
          <a:xfrm>
            <a:off x="7814553" y="3894306"/>
            <a:ext cx="252919" cy="214008"/>
          </a:xfrm>
          <a:prstGeom prst="triangle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466945" y="1849101"/>
            <a:ext cx="1837097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1600" dirty="0" smtClean="0">
                <a:latin typeface="Simplon BP" charset="0"/>
                <a:ea typeface="Simplon BP" charset="0"/>
                <a:cs typeface="Simplon BP" charset="0"/>
              </a:rPr>
              <a:t>RFP </a:t>
            </a:r>
            <a:r>
              <a:rPr lang="pt-BR" sz="1000" dirty="0" smtClean="0">
                <a:latin typeface="Simplon BP" charset="0"/>
                <a:ea typeface="Simplon BP" charset="0"/>
                <a:cs typeface="Simplon BP" charset="0"/>
              </a:rPr>
              <a:t>(</a:t>
            </a:r>
            <a:r>
              <a:rPr lang="pt-BR" sz="1000" dirty="0" err="1" smtClean="0">
                <a:latin typeface="Simplon BP" charset="0"/>
                <a:ea typeface="Simplon BP" charset="0"/>
                <a:cs typeface="Simplon BP" charset="0"/>
              </a:rPr>
              <a:t>Macrorequisitos</a:t>
            </a:r>
            <a:r>
              <a:rPr lang="pt-BR" sz="1000" dirty="0" smtClean="0">
                <a:latin typeface="Simplon BP" charset="0"/>
                <a:ea typeface="Simplon BP" charset="0"/>
                <a:cs typeface="Simplon BP" charset="0"/>
              </a:rPr>
              <a:t> POC)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6913123" y="3018102"/>
            <a:ext cx="996033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1600" dirty="0" smtClean="0">
                <a:latin typeface="Simplon BP" charset="0"/>
                <a:ea typeface="Simplon BP" charset="0"/>
                <a:cs typeface="Simplon BP" charset="0"/>
              </a:rPr>
              <a:t>Propostas</a:t>
            </a:r>
            <a:endParaRPr lang="pt-BR" sz="1000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8048021" y="3841714"/>
            <a:ext cx="516735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1600" dirty="0" smtClean="0">
                <a:latin typeface="Simplon BP" charset="0"/>
                <a:ea typeface="Simplon BP" charset="0"/>
                <a:cs typeface="Simplon BP" charset="0"/>
              </a:rPr>
              <a:t>POC</a:t>
            </a:r>
            <a:endParaRPr lang="pt-BR" sz="1000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6" name="Triângulo isósceles 15"/>
          <p:cNvSpPr/>
          <p:nvPr/>
        </p:nvSpPr>
        <p:spPr>
          <a:xfrm>
            <a:off x="8675688" y="4281543"/>
            <a:ext cx="252919" cy="214008"/>
          </a:xfrm>
          <a:prstGeom prst="triangle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8203182" y="4524317"/>
            <a:ext cx="739553" cy="50359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r"/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Seleção</a:t>
            </a:r>
          </a:p>
          <a:p>
            <a:pPr algn="r"/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Parceiro</a:t>
            </a:r>
          </a:p>
        </p:txBody>
      </p:sp>
    </p:spTree>
    <p:extLst>
      <p:ext uri="{BB962C8B-B14F-4D97-AF65-F5344CB8AC3E}">
        <p14:creationId xmlns:p14="http://schemas.microsoft.com/office/powerpoint/2010/main" val="239064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Grá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2665690"/>
              </p:ext>
            </p:extLst>
          </p:nvPr>
        </p:nvGraphicFramePr>
        <p:xfrm>
          <a:off x="1331640" y="1119867"/>
          <a:ext cx="6156176" cy="3992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 dirty="0">
                <a:solidFill>
                  <a:schemeClr val="accent1"/>
                </a:solidFill>
              </a:rPr>
              <a:t>PESO DOS PRINCIPAIS DIRECIONADORES QUE IRÃO BALIZAR AS FUTURAS DECISÕES</a:t>
            </a: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5384304" y="1114479"/>
            <a:ext cx="185199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pt-BR" sz="1000" b="1" dirty="0">
                <a:solidFill>
                  <a:srgbClr val="000000"/>
                </a:solidFill>
                <a:latin typeface="Simplon BP Regular" pitchFamily="2" charset="0"/>
              </a:rPr>
              <a:t>Redução de </a:t>
            </a:r>
            <a:r>
              <a:rPr lang="pt-BR" sz="1000" b="1" dirty="0" smtClean="0">
                <a:solidFill>
                  <a:srgbClr val="000000"/>
                </a:solidFill>
                <a:latin typeface="Simplon BP Regular" pitchFamily="2" charset="0"/>
              </a:rPr>
              <a:t>OPEX </a:t>
            </a:r>
            <a:r>
              <a:rPr lang="pt-BR" sz="1000" dirty="0" smtClean="0">
                <a:solidFill>
                  <a:srgbClr val="000000"/>
                </a:solidFill>
                <a:latin typeface="Simplon BP Regular" pitchFamily="2" charset="0"/>
              </a:rPr>
              <a:t>(</a:t>
            </a:r>
            <a:r>
              <a:rPr lang="pt-BR" sz="1000" dirty="0" err="1" smtClean="0">
                <a:solidFill>
                  <a:srgbClr val="000000"/>
                </a:solidFill>
                <a:latin typeface="Simplon BP Regular" pitchFamily="2" charset="0"/>
              </a:rPr>
              <a:t>PA’s</a:t>
            </a:r>
            <a:r>
              <a:rPr lang="pt-BR" sz="1000" dirty="0" smtClean="0">
                <a:solidFill>
                  <a:srgbClr val="000000"/>
                </a:solidFill>
                <a:latin typeface="Simplon BP Regular" pitchFamily="2" charset="0"/>
              </a:rPr>
              <a:t>), de serviços </a:t>
            </a:r>
            <a:r>
              <a:rPr lang="pt-BR" sz="1000" i="1" dirty="0" err="1">
                <a:solidFill>
                  <a:srgbClr val="000000"/>
                </a:solidFill>
                <a:latin typeface="Simplon BP Regular" pitchFamily="2" charset="0"/>
              </a:rPr>
              <a:t>on</a:t>
            </a:r>
            <a:r>
              <a:rPr lang="pt-BR" sz="1000" i="1" dirty="0">
                <a:solidFill>
                  <a:srgbClr val="000000"/>
                </a:solidFill>
                <a:latin typeface="Simplon BP Regular" pitchFamily="2" charset="0"/>
              </a:rPr>
              <a:t> </a:t>
            </a:r>
            <a:r>
              <a:rPr lang="pt-BR" sz="1000" i="1" dirty="0" err="1">
                <a:solidFill>
                  <a:srgbClr val="000000"/>
                </a:solidFill>
                <a:latin typeface="Simplon BP Regular" pitchFamily="2" charset="0"/>
              </a:rPr>
              <a:t>going</a:t>
            </a:r>
            <a:r>
              <a:rPr lang="pt-BR" sz="1000" dirty="0">
                <a:solidFill>
                  <a:srgbClr val="000000"/>
                </a:solidFill>
                <a:latin typeface="Simplon BP Regular" pitchFamily="2" charset="0"/>
              </a:rPr>
              <a:t>, </a:t>
            </a:r>
            <a:r>
              <a:rPr lang="pt-BR" sz="1000" dirty="0" smtClean="0">
                <a:solidFill>
                  <a:srgbClr val="000000"/>
                </a:solidFill>
                <a:latin typeface="Simplon BP Regular" pitchFamily="2" charset="0"/>
              </a:rPr>
              <a:t>descontinuação de sistemas legados, </a:t>
            </a:r>
            <a:r>
              <a:rPr lang="pt-BR" sz="1000" dirty="0" err="1" smtClean="0">
                <a:solidFill>
                  <a:srgbClr val="000000"/>
                </a:solidFill>
                <a:latin typeface="Simplon BP Regular" pitchFamily="2" charset="0"/>
              </a:rPr>
              <a:t>etc</a:t>
            </a:r>
            <a:endParaRPr lang="pt-BR" sz="100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cxnSp>
        <p:nvCxnSpPr>
          <p:cNvPr id="4" name="Conector angulado 3"/>
          <p:cNvCxnSpPr/>
          <p:nvPr/>
        </p:nvCxnSpPr>
        <p:spPr>
          <a:xfrm flipV="1">
            <a:off x="5066531" y="1367493"/>
            <a:ext cx="236240" cy="144016"/>
          </a:xfrm>
          <a:prstGeom prst="bentConnector3">
            <a:avLst>
              <a:gd name="adj1" fmla="val -2415"/>
            </a:avLst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Conector angulado 4"/>
          <p:cNvCxnSpPr/>
          <p:nvPr/>
        </p:nvCxnSpPr>
        <p:spPr>
          <a:xfrm rot="10800000">
            <a:off x="2915816" y="1511510"/>
            <a:ext cx="576064" cy="144016"/>
          </a:xfrm>
          <a:prstGeom prst="bentConnector3">
            <a:avLst>
              <a:gd name="adj1" fmla="val 396"/>
            </a:avLst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tângulo 5"/>
          <p:cNvSpPr/>
          <p:nvPr/>
        </p:nvSpPr>
        <p:spPr>
          <a:xfrm>
            <a:off x="1034083" y="1113369"/>
            <a:ext cx="185199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pt-BR" sz="1000" dirty="0">
                <a:solidFill>
                  <a:srgbClr val="000000"/>
                </a:solidFill>
                <a:latin typeface="Simplon BP Regular" pitchFamily="2" charset="0"/>
              </a:rPr>
              <a:t>Escalabilidade/integração, performance/agilidade, disponibilidade/estabilidade e segurança/integridade das </a:t>
            </a:r>
            <a:r>
              <a:rPr lang="pt-BR" sz="1000" dirty="0" smtClean="0">
                <a:solidFill>
                  <a:srgbClr val="000000"/>
                </a:solidFill>
                <a:latin typeface="Simplon BP Regular" pitchFamily="2" charset="0"/>
              </a:rPr>
              <a:t>informações</a:t>
            </a:r>
            <a:endParaRPr lang="pt-BR" sz="100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cxnSp>
        <p:nvCxnSpPr>
          <p:cNvPr id="7" name="Conector reto 6"/>
          <p:cNvCxnSpPr/>
          <p:nvPr/>
        </p:nvCxnSpPr>
        <p:spPr>
          <a:xfrm flipV="1">
            <a:off x="5796136" y="2663637"/>
            <a:ext cx="360040" cy="11239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tângulo 7"/>
          <p:cNvSpPr/>
          <p:nvPr/>
        </p:nvSpPr>
        <p:spPr>
          <a:xfrm>
            <a:off x="6281142" y="2159581"/>
            <a:ext cx="185199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pt-BR" sz="1000" b="1" dirty="0" smtClean="0">
                <a:solidFill>
                  <a:srgbClr val="000000"/>
                </a:solidFill>
                <a:latin typeface="Simplon BP Regular" pitchFamily="2" charset="0"/>
              </a:rPr>
              <a:t>Flexibilidade</a:t>
            </a:r>
            <a:r>
              <a:rPr lang="pt-BR" sz="1000" dirty="0" smtClean="0">
                <a:solidFill>
                  <a:srgbClr val="000000"/>
                </a:solidFill>
                <a:latin typeface="Simplon BP Regular" pitchFamily="2" charset="0"/>
              </a:rPr>
              <a:t>, usabilidade</a:t>
            </a:r>
            <a:r>
              <a:rPr lang="pt-BR" sz="1000" dirty="0">
                <a:solidFill>
                  <a:srgbClr val="000000"/>
                </a:solidFill>
                <a:latin typeface="Simplon BP Regular" pitchFamily="2" charset="0"/>
              </a:rPr>
              <a:t>, assertividade, atendimento às principais funcionalidades (ações automáticas, gestão de casos, visão 360º do cliente, </a:t>
            </a:r>
            <a:r>
              <a:rPr lang="pt-BR" sz="1000" dirty="0" smtClean="0">
                <a:solidFill>
                  <a:srgbClr val="000000"/>
                </a:solidFill>
                <a:latin typeface="Simplon BP Regular" pitchFamily="2" charset="0"/>
              </a:rPr>
              <a:t>capacidades de </a:t>
            </a:r>
            <a:r>
              <a:rPr lang="pt-BR" sz="1000" i="1" dirty="0" err="1" smtClean="0">
                <a:solidFill>
                  <a:srgbClr val="000000"/>
                </a:solidFill>
                <a:latin typeface="Simplon BP Regular" pitchFamily="2" charset="0"/>
              </a:rPr>
              <a:t>analytics</a:t>
            </a:r>
            <a:r>
              <a:rPr lang="pt-BR" sz="1000" dirty="0">
                <a:solidFill>
                  <a:srgbClr val="000000"/>
                </a:solidFill>
                <a:latin typeface="Simplon BP Regular" pitchFamily="2" charset="0"/>
              </a:rPr>
              <a:t>, </a:t>
            </a:r>
            <a:r>
              <a:rPr lang="pt-BR" sz="1000" dirty="0" err="1">
                <a:solidFill>
                  <a:srgbClr val="000000"/>
                </a:solidFill>
                <a:latin typeface="Simplon BP Regular" pitchFamily="2" charset="0"/>
              </a:rPr>
              <a:t>etc</a:t>
            </a:r>
            <a:r>
              <a:rPr lang="pt-BR" sz="1000" dirty="0" smtClean="0">
                <a:solidFill>
                  <a:srgbClr val="000000"/>
                </a:solidFill>
                <a:latin typeface="Simplon BP Regular" pitchFamily="2" charset="0"/>
              </a:rPr>
              <a:t>)</a:t>
            </a:r>
            <a:endParaRPr lang="pt-BR" sz="100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cxnSp>
        <p:nvCxnSpPr>
          <p:cNvPr id="9" name="Conector angulado 8"/>
          <p:cNvCxnSpPr/>
          <p:nvPr/>
        </p:nvCxnSpPr>
        <p:spPr>
          <a:xfrm>
            <a:off x="5023098" y="3988356"/>
            <a:ext cx="485006" cy="144016"/>
          </a:xfrm>
          <a:prstGeom prst="bentConnector3">
            <a:avLst>
              <a:gd name="adj1" fmla="val -1061"/>
            </a:avLst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tângulo 9"/>
          <p:cNvSpPr/>
          <p:nvPr/>
        </p:nvSpPr>
        <p:spPr>
          <a:xfrm>
            <a:off x="5632747" y="3777665"/>
            <a:ext cx="249086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pt-BR" sz="1000" dirty="0">
                <a:solidFill>
                  <a:srgbClr val="000000"/>
                </a:solidFill>
                <a:latin typeface="Simplon BP Regular" pitchFamily="2" charset="0"/>
              </a:rPr>
              <a:t>Aderência às tendências tecnológicas para prevenção de fraudes </a:t>
            </a:r>
            <a:r>
              <a:rPr lang="pt-BR" sz="1000" dirty="0" smtClean="0">
                <a:solidFill>
                  <a:srgbClr val="000000"/>
                </a:solidFill>
                <a:latin typeface="Simplon BP Regular" pitchFamily="2" charset="0"/>
              </a:rPr>
              <a:t>OTT (</a:t>
            </a:r>
            <a:r>
              <a:rPr lang="pt-BR" sz="1000" dirty="0" err="1" smtClean="0">
                <a:solidFill>
                  <a:srgbClr val="000000"/>
                </a:solidFill>
                <a:latin typeface="Simplon BP Regular" pitchFamily="2" charset="0"/>
              </a:rPr>
              <a:t>IoT</a:t>
            </a:r>
            <a:r>
              <a:rPr lang="pt-BR" sz="1000" dirty="0" smtClean="0">
                <a:solidFill>
                  <a:srgbClr val="000000"/>
                </a:solidFill>
                <a:latin typeface="Simplon BP Regular" pitchFamily="2" charset="0"/>
              </a:rPr>
              <a:t>, </a:t>
            </a:r>
            <a:r>
              <a:rPr lang="pt-BR" sz="1000" i="1" dirty="0" err="1" smtClean="0">
                <a:solidFill>
                  <a:srgbClr val="000000"/>
                </a:solidFill>
                <a:latin typeface="Simplon BP Regular" pitchFamily="2" charset="0"/>
              </a:rPr>
              <a:t>omni-channel</a:t>
            </a:r>
            <a:r>
              <a:rPr lang="pt-BR" sz="1000" i="1" dirty="0">
                <a:solidFill>
                  <a:srgbClr val="000000"/>
                </a:solidFill>
                <a:latin typeface="Simplon BP Regular" pitchFamily="2" charset="0"/>
              </a:rPr>
              <a:t>, </a:t>
            </a:r>
            <a:r>
              <a:rPr lang="pt-BR" sz="1000" i="1" dirty="0" err="1">
                <a:solidFill>
                  <a:srgbClr val="000000"/>
                </a:solidFill>
                <a:latin typeface="Simplon BP Regular" pitchFamily="2" charset="0"/>
              </a:rPr>
              <a:t>machine</a:t>
            </a:r>
            <a:r>
              <a:rPr lang="pt-BR" sz="1000" i="1" dirty="0">
                <a:solidFill>
                  <a:srgbClr val="000000"/>
                </a:solidFill>
                <a:latin typeface="Simplon BP Regular" pitchFamily="2" charset="0"/>
              </a:rPr>
              <a:t> </a:t>
            </a:r>
            <a:r>
              <a:rPr lang="pt-BR" sz="1000" i="1" dirty="0" err="1">
                <a:solidFill>
                  <a:srgbClr val="000000"/>
                </a:solidFill>
                <a:latin typeface="Simplon BP Regular" pitchFamily="2" charset="0"/>
              </a:rPr>
              <a:t>learning</a:t>
            </a:r>
            <a:r>
              <a:rPr lang="pt-BR" sz="1000" i="1" dirty="0">
                <a:solidFill>
                  <a:srgbClr val="000000"/>
                </a:solidFill>
                <a:latin typeface="Simplon BP Regular" pitchFamily="2" charset="0"/>
              </a:rPr>
              <a:t>, </a:t>
            </a:r>
            <a:r>
              <a:rPr lang="pt-BR" sz="1000" i="1" dirty="0" err="1">
                <a:solidFill>
                  <a:srgbClr val="000000"/>
                </a:solidFill>
                <a:latin typeface="Simplon BP Regular" pitchFamily="2" charset="0"/>
              </a:rPr>
              <a:t>multi</a:t>
            </a:r>
            <a:r>
              <a:rPr lang="pt-BR" sz="1000" i="1" dirty="0">
                <a:solidFill>
                  <a:srgbClr val="000000"/>
                </a:solidFill>
                <a:latin typeface="Simplon BP Regular" pitchFamily="2" charset="0"/>
              </a:rPr>
              <a:t> </a:t>
            </a:r>
            <a:r>
              <a:rPr lang="pt-BR" sz="1000" i="1" dirty="0" err="1">
                <a:solidFill>
                  <a:srgbClr val="000000"/>
                </a:solidFill>
                <a:latin typeface="Simplon BP Regular" pitchFamily="2" charset="0"/>
              </a:rPr>
              <a:t>devices</a:t>
            </a:r>
            <a:r>
              <a:rPr lang="pt-BR" sz="1000" i="1" dirty="0">
                <a:solidFill>
                  <a:srgbClr val="000000"/>
                </a:solidFill>
                <a:latin typeface="Simplon BP Regular" pitchFamily="2" charset="0"/>
              </a:rPr>
              <a:t>, social network, </a:t>
            </a:r>
            <a:r>
              <a:rPr lang="pt-BR" sz="1000" i="1" dirty="0" err="1">
                <a:solidFill>
                  <a:srgbClr val="000000"/>
                </a:solidFill>
                <a:latin typeface="Simplon BP Regular" pitchFamily="2" charset="0"/>
              </a:rPr>
              <a:t>etc</a:t>
            </a:r>
            <a:r>
              <a:rPr lang="pt-BR" sz="1000" dirty="0">
                <a:solidFill>
                  <a:srgbClr val="000000"/>
                </a:solidFill>
                <a:latin typeface="Simplon BP Regular" pitchFamily="2" charset="0"/>
              </a:rPr>
              <a:t>)</a:t>
            </a:r>
          </a:p>
        </p:txBody>
      </p:sp>
      <p:cxnSp>
        <p:nvCxnSpPr>
          <p:cNvPr id="11" name="Conector reto 10"/>
          <p:cNvCxnSpPr/>
          <p:nvPr/>
        </p:nvCxnSpPr>
        <p:spPr>
          <a:xfrm>
            <a:off x="2771800" y="3311709"/>
            <a:ext cx="360040" cy="72008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tângulo 11"/>
          <p:cNvSpPr/>
          <p:nvPr/>
        </p:nvSpPr>
        <p:spPr>
          <a:xfrm>
            <a:off x="731193" y="2777937"/>
            <a:ext cx="199600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pt-BR" sz="1000" b="1" dirty="0" smtClean="0">
                <a:solidFill>
                  <a:srgbClr val="000000"/>
                </a:solidFill>
                <a:latin typeface="Simplon BP Regular" pitchFamily="2" charset="0"/>
              </a:rPr>
              <a:t>Redução </a:t>
            </a:r>
            <a:r>
              <a:rPr lang="pt-BR" sz="1000" b="1" dirty="0">
                <a:solidFill>
                  <a:srgbClr val="000000"/>
                </a:solidFill>
                <a:latin typeface="Simplon BP Regular" pitchFamily="2" charset="0"/>
              </a:rPr>
              <a:t>dos principais cenários </a:t>
            </a:r>
            <a:r>
              <a:rPr lang="pt-BR" sz="1000" dirty="0">
                <a:solidFill>
                  <a:srgbClr val="000000"/>
                </a:solidFill>
                <a:latin typeface="Simplon BP Regular" pitchFamily="2" charset="0"/>
              </a:rPr>
              <a:t>de perda de receita com</a:t>
            </a:r>
            <a:r>
              <a:rPr lang="pt-BR" sz="1000" b="1" dirty="0">
                <a:solidFill>
                  <a:srgbClr val="000000"/>
                </a:solidFill>
                <a:latin typeface="Simplon BP Regular" pitchFamily="2" charset="0"/>
              </a:rPr>
              <a:t> fraudes </a:t>
            </a:r>
            <a:r>
              <a:rPr lang="pt-BR" sz="1000" dirty="0">
                <a:solidFill>
                  <a:srgbClr val="000000"/>
                </a:solidFill>
                <a:latin typeface="Simplon BP Regular" pitchFamily="2" charset="0"/>
              </a:rPr>
              <a:t>da Oi e do mercado de Telecom (subscrição, spam, clonagens, </a:t>
            </a:r>
            <a:r>
              <a:rPr lang="pt-BR" sz="1000" dirty="0" err="1">
                <a:solidFill>
                  <a:srgbClr val="000000"/>
                </a:solidFill>
                <a:latin typeface="Simplon BP Regular" pitchFamily="2" charset="0"/>
              </a:rPr>
              <a:t>etc</a:t>
            </a:r>
            <a:r>
              <a:rPr lang="pt-BR" sz="1000" dirty="0" smtClean="0">
                <a:solidFill>
                  <a:srgbClr val="000000"/>
                </a:solidFill>
                <a:latin typeface="Simplon BP Regular" pitchFamily="2" charset="0"/>
              </a:rPr>
              <a:t>)</a:t>
            </a:r>
            <a:endParaRPr lang="pt-BR" sz="100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3933453" y="2405226"/>
            <a:ext cx="935335" cy="71903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457200"/>
            <a:r>
              <a:rPr lang="pt-BR" sz="1400" b="1" dirty="0" smtClean="0">
                <a:solidFill>
                  <a:srgbClr val="FFFFFF">
                    <a:lumMod val="50000"/>
                  </a:srgbClr>
                </a:solidFill>
                <a:latin typeface="Simplon BP" charset="0"/>
                <a:ea typeface="Simplon BP" charset="0"/>
                <a:cs typeface="Simplon BP" charset="0"/>
              </a:rPr>
              <a:t>PILARES DE ANÁLISE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87833" y="4948014"/>
            <a:ext cx="4386385" cy="19581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defTabSz="457200"/>
            <a:r>
              <a:rPr lang="pt-BR" sz="8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* Os pesos poderão sofrer alterações até o final das atividades de levantamento de requisitos.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645139" y="2736623"/>
            <a:ext cx="2040607" cy="1057588"/>
          </a:xfrm>
          <a:prstGeom prst="rect">
            <a:avLst/>
          </a:prstGeom>
          <a:solidFill>
            <a:srgbClr val="CCFF33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endParaRPr lang="pt-BR" sz="1600" dirty="0" smtClean="0">
              <a:latin typeface="Simplon BP" charset="0"/>
              <a:ea typeface="Simplon BP" charset="0"/>
              <a:cs typeface="Simplon BP" charset="0"/>
            </a:endParaRPr>
          </a:p>
          <a:p>
            <a:pPr algn="ctr"/>
            <a:r>
              <a:rPr lang="pt-BR" sz="1600" dirty="0" smtClean="0">
                <a:latin typeface="Simplon BP" charset="0"/>
                <a:ea typeface="Simplon BP" charset="0"/>
                <a:cs typeface="Simplon BP" charset="0"/>
              </a:rPr>
              <a:t>1 - IMPACTO NO</a:t>
            </a:r>
          </a:p>
          <a:p>
            <a:pPr algn="ctr"/>
            <a:r>
              <a:rPr lang="pt-BR" sz="1600" dirty="0" smtClean="0">
                <a:latin typeface="Simplon BP" charset="0"/>
                <a:ea typeface="Simplon BP" charset="0"/>
                <a:cs typeface="Simplon BP" charset="0"/>
              </a:rPr>
              <a:t>NEGÓCIO</a:t>
            </a:r>
          </a:p>
          <a:p>
            <a:pPr algn="ctr"/>
            <a:endParaRPr lang="pt-BR" sz="1600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5442620" y="771810"/>
            <a:ext cx="2261686" cy="1057588"/>
          </a:xfrm>
          <a:prstGeom prst="rect">
            <a:avLst/>
          </a:prstGeom>
          <a:solidFill>
            <a:srgbClr val="00B0F0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endParaRPr lang="pt-BR" sz="1600" dirty="0" smtClean="0">
              <a:latin typeface="Simplon BP" charset="0"/>
              <a:ea typeface="Simplon BP" charset="0"/>
              <a:cs typeface="Simplon BP" charset="0"/>
            </a:endParaRPr>
          </a:p>
          <a:p>
            <a:pPr algn="ctr"/>
            <a:r>
              <a:rPr lang="pt-BR" sz="1600" dirty="0" smtClean="0">
                <a:latin typeface="Simplon BP" charset="0"/>
                <a:ea typeface="Simplon BP" charset="0"/>
                <a:cs typeface="Simplon BP" charset="0"/>
              </a:rPr>
              <a:t>2 – PRODUTIVIDADE E REDUÇÃO OPEX</a:t>
            </a:r>
          </a:p>
          <a:p>
            <a:pPr algn="ctr"/>
            <a:endParaRPr lang="pt-BR" sz="1600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6281142" y="2055929"/>
            <a:ext cx="2261686" cy="1303809"/>
          </a:xfrm>
          <a:prstGeom prst="rect">
            <a:avLst/>
          </a:prstGeom>
          <a:solidFill>
            <a:srgbClr val="F48D27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endParaRPr lang="pt-BR" sz="1600" dirty="0" smtClean="0">
              <a:latin typeface="Simplon BP" charset="0"/>
              <a:ea typeface="Simplon BP" charset="0"/>
              <a:cs typeface="Simplon BP" charset="0"/>
            </a:endParaRPr>
          </a:p>
          <a:p>
            <a:pPr algn="ctr"/>
            <a:r>
              <a:rPr lang="pt-BR" sz="1600" dirty="0" smtClean="0">
                <a:latin typeface="Simplon BP" charset="0"/>
                <a:ea typeface="Simplon BP" charset="0"/>
                <a:cs typeface="Simplon BP" charset="0"/>
              </a:rPr>
              <a:t>3 – CAPACIDADE RESPONDER A NOVAS FRAUDES</a:t>
            </a:r>
          </a:p>
          <a:p>
            <a:pPr algn="ctr"/>
            <a:endParaRPr lang="pt-BR" sz="1600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598354" y="992450"/>
            <a:ext cx="2261686" cy="1088366"/>
          </a:xfrm>
          <a:prstGeom prst="rect">
            <a:avLst/>
          </a:prstGeom>
          <a:solidFill>
            <a:schemeClr val="accent5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endParaRPr lang="pt-BR" sz="1600" dirty="0" smtClean="0">
              <a:latin typeface="Simplon BP" charset="0"/>
              <a:ea typeface="Simplon BP" charset="0"/>
              <a:cs typeface="Simplon BP" charset="0"/>
            </a:endParaRPr>
          </a:p>
          <a:p>
            <a:pPr algn="ctr"/>
            <a:r>
              <a:rPr lang="pt-BR" sz="1600" dirty="0" smtClean="0">
                <a:latin typeface="Simplon BP" charset="0"/>
                <a:ea typeface="Simplon BP" charset="0"/>
                <a:cs typeface="Simplon BP" charset="0"/>
              </a:rPr>
              <a:t>4 – REQUISITOS TECNOLOGICOS </a:t>
            </a:r>
            <a:r>
              <a:rPr lang="pt-BR" sz="900" dirty="0" smtClean="0">
                <a:latin typeface="Simplon BP" charset="0"/>
                <a:ea typeface="Simplon BP" charset="0"/>
                <a:cs typeface="Simplon BP" charset="0"/>
              </a:rPr>
              <a:t>(PROCESSAMENTO, ESCALABILIDADE, DATA ANALITYCS, ETC)</a:t>
            </a:r>
            <a:endParaRPr lang="pt-BR" sz="1600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5638004" y="3583032"/>
            <a:ext cx="2904824" cy="1057588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endParaRPr lang="pt-BR" sz="1600" dirty="0" smtClean="0">
              <a:latin typeface="Simplon BP" charset="0"/>
              <a:ea typeface="Simplon BP" charset="0"/>
              <a:cs typeface="Simplon BP" charset="0"/>
            </a:endParaRPr>
          </a:p>
          <a:p>
            <a:pPr algn="ctr"/>
            <a:r>
              <a:rPr lang="pt-BR" sz="1600" dirty="0" smtClean="0">
                <a:latin typeface="Simplon BP" charset="0"/>
                <a:ea typeface="Simplon BP" charset="0"/>
                <a:cs typeface="Simplon BP" charset="0"/>
              </a:rPr>
              <a:t>5 – ADEQUAÇÃO A FUTURAS FUNCIONALIDADES FRAUDE</a:t>
            </a:r>
          </a:p>
          <a:p>
            <a:pPr algn="ctr"/>
            <a:endParaRPr lang="pt-BR" sz="1600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573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entágono 10"/>
          <p:cNvSpPr/>
          <p:nvPr/>
        </p:nvSpPr>
        <p:spPr>
          <a:xfrm>
            <a:off x="6158074" y="3959052"/>
            <a:ext cx="2595634" cy="341644"/>
          </a:xfrm>
          <a:prstGeom prst="homePlate">
            <a:avLst>
              <a:gd name="adj" fmla="val 2647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400" dirty="0" smtClean="0">
                <a:solidFill>
                  <a:schemeClr val="bg1">
                    <a:lumMod val="65000"/>
                  </a:schemeClr>
                </a:solidFill>
                <a:latin typeface="Simplon BP Regular" pitchFamily="2" charset="0"/>
              </a:rPr>
              <a:t>DETECÇÃO FRAUDES</a:t>
            </a:r>
            <a:endParaRPr lang="pt-BR" sz="1400" dirty="0">
              <a:solidFill>
                <a:schemeClr val="bg1">
                  <a:lumMod val="6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10" name="Pentágono 9"/>
          <p:cNvSpPr/>
          <p:nvPr/>
        </p:nvSpPr>
        <p:spPr>
          <a:xfrm>
            <a:off x="5225141" y="3959052"/>
            <a:ext cx="1125947" cy="341644"/>
          </a:xfrm>
          <a:prstGeom prst="homePlate">
            <a:avLst>
              <a:gd name="adj" fmla="val 2647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pt-BR" sz="1400" dirty="0" smtClean="0">
                <a:solidFill>
                  <a:schemeClr val="bg1">
                    <a:lumMod val="65000"/>
                  </a:schemeClr>
                </a:solidFill>
                <a:latin typeface="Simplon BP Regular" pitchFamily="2" charset="0"/>
              </a:rPr>
              <a:t>TRATAMENTO</a:t>
            </a:r>
          </a:p>
        </p:txBody>
      </p:sp>
      <p:sp>
        <p:nvSpPr>
          <p:cNvPr id="9" name="Pentágono 8"/>
          <p:cNvSpPr/>
          <p:nvPr/>
        </p:nvSpPr>
        <p:spPr>
          <a:xfrm>
            <a:off x="2272602" y="3959052"/>
            <a:ext cx="3073121" cy="341644"/>
          </a:xfrm>
          <a:prstGeom prst="homePlate">
            <a:avLst>
              <a:gd name="adj" fmla="val 2647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400" dirty="0" smtClean="0">
                <a:solidFill>
                  <a:schemeClr val="bg1">
                    <a:lumMod val="65000"/>
                  </a:schemeClr>
                </a:solidFill>
                <a:latin typeface="Simplon BP Regular" pitchFamily="2" charset="0"/>
              </a:rPr>
              <a:t>PREVENÇÃO FRAUDES VENDAS</a:t>
            </a:r>
            <a:endParaRPr lang="pt-BR" sz="1400" dirty="0">
              <a:solidFill>
                <a:schemeClr val="bg1">
                  <a:lumMod val="6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7" name="Title 22"/>
          <p:cNvSpPr txBox="1">
            <a:spLocks/>
          </p:cNvSpPr>
          <p:nvPr/>
        </p:nvSpPr>
        <p:spPr>
          <a:xfrm>
            <a:off x="139169" y="4060"/>
            <a:ext cx="9144000" cy="528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800" i="0" dirty="0" smtClean="0">
                <a:solidFill>
                  <a:schemeClr val="accent6">
                    <a:lumMod val="75000"/>
                  </a:schemeClr>
                </a:solidFill>
                <a:latin typeface="Simplon Oi Headline"/>
                <a:cs typeface="Simplon Oi Headline"/>
              </a:rPr>
              <a:t>Novo sistema </a:t>
            </a:r>
            <a:r>
              <a:rPr lang="pt-BR" sz="2800" i="0" dirty="0" err="1" smtClean="0">
                <a:solidFill>
                  <a:schemeClr val="accent6">
                    <a:lumMod val="75000"/>
                  </a:schemeClr>
                </a:solidFill>
                <a:latin typeface="Simplon Oi Headline"/>
                <a:cs typeface="Simplon Oi Headline"/>
              </a:rPr>
              <a:t>anti-fraudes</a:t>
            </a:r>
            <a:r>
              <a:rPr lang="pt-BR" sz="2800" i="0" dirty="0" smtClean="0">
                <a:solidFill>
                  <a:schemeClr val="accent6">
                    <a:lumMod val="75000"/>
                  </a:schemeClr>
                </a:solidFill>
                <a:latin typeface="Simplon Oi Headline"/>
                <a:cs typeface="Simplon Oi Headline"/>
              </a:rPr>
              <a:t> </a:t>
            </a:r>
            <a:r>
              <a:rPr lang="pt-BR" sz="2000" i="0" dirty="0" smtClean="0">
                <a:latin typeface="Simplon Oi Headline"/>
                <a:cs typeface="Simplon Oi Headline"/>
              </a:rPr>
              <a:t>pontos atenção executiva</a:t>
            </a:r>
            <a:endParaRPr lang="en-US" sz="2800" i="0" dirty="0">
              <a:solidFill>
                <a:schemeClr val="accent6">
                  <a:lumMod val="75000"/>
                </a:schemeClr>
              </a:solidFill>
              <a:latin typeface="Simplon Oi Headline"/>
              <a:cs typeface="Simplon Oi Headline"/>
            </a:endParaRPr>
          </a:p>
        </p:txBody>
      </p:sp>
      <p:sp>
        <p:nvSpPr>
          <p:cNvPr id="30" name="Retângulo 29"/>
          <p:cNvSpPr/>
          <p:nvPr/>
        </p:nvSpPr>
        <p:spPr>
          <a:xfrm>
            <a:off x="139169" y="532541"/>
            <a:ext cx="8875265" cy="4490586"/>
          </a:xfrm>
          <a:prstGeom prst="rect">
            <a:avLst/>
          </a:prstGeom>
          <a:noFill/>
          <a:ln>
            <a:solidFill>
              <a:srgbClr val="7030A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32" name="Title 22"/>
          <p:cNvSpPr txBox="1">
            <a:spLocks/>
          </p:cNvSpPr>
          <p:nvPr/>
        </p:nvSpPr>
        <p:spPr>
          <a:xfrm>
            <a:off x="513418" y="750923"/>
            <a:ext cx="7575505" cy="528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marL="342900" indent="-342900"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1800" i="0" dirty="0" err="1" smtClean="0">
                <a:solidFill>
                  <a:schemeClr val="accent6"/>
                </a:solidFill>
                <a:latin typeface="Simplon Oi Headline"/>
                <a:cs typeface="Simplon Oi Headline"/>
              </a:rPr>
              <a:t>Concorrência</a:t>
            </a:r>
            <a:r>
              <a:rPr lang="en-US" sz="1800" i="0" dirty="0" smtClean="0">
                <a:solidFill>
                  <a:schemeClr val="accent6"/>
                </a:solidFill>
                <a:latin typeface="Simplon Oi Headline"/>
                <a:cs typeface="Simplon Oi Headline"/>
              </a:rPr>
              <a:t> Projetos </a:t>
            </a:r>
            <a:r>
              <a:rPr lang="en-US" sz="1800" i="0" dirty="0" smtClean="0">
                <a:latin typeface="Simplon Oi Headline"/>
                <a:cs typeface="Simplon Oi Headline"/>
              </a:rPr>
              <a:t>(a)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credito</a:t>
            </a:r>
            <a:r>
              <a:rPr lang="en-US" sz="1800" i="0" dirty="0" smtClean="0">
                <a:latin typeface="Simplon Oi Headline"/>
                <a:cs typeface="Simplon Oi Headline"/>
              </a:rPr>
              <a:t>; (b)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mediação</a:t>
            </a:r>
            <a:r>
              <a:rPr lang="en-US" sz="1800" i="0" dirty="0" smtClean="0">
                <a:latin typeface="Simplon Oi Headline"/>
                <a:cs typeface="Simplon Oi Headline"/>
              </a:rPr>
              <a:t>; (c)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ocs</a:t>
            </a:r>
            <a:r>
              <a:rPr lang="en-US" sz="1800" i="0" dirty="0" smtClean="0">
                <a:latin typeface="Simplon Oi Headline"/>
                <a:cs typeface="Simplon Oi Headline"/>
              </a:rPr>
              <a:t>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Pré</a:t>
            </a:r>
            <a:r>
              <a:rPr lang="en-US" sz="1800" i="0" dirty="0" smtClean="0">
                <a:latin typeface="Simplon Oi Headline"/>
                <a:cs typeface="Simplon Oi Headline"/>
              </a:rPr>
              <a:t> e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pós</a:t>
            </a:r>
            <a:r>
              <a:rPr lang="en-US" sz="1800" i="0" dirty="0" smtClean="0">
                <a:latin typeface="Simplon Oi Headline"/>
                <a:cs typeface="Simplon Oi Headline"/>
              </a:rPr>
              <a:t>; (d)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unifica</a:t>
            </a:r>
            <a:r>
              <a:rPr lang="en-US" sz="1800" i="0" dirty="0" smtClean="0">
                <a:latin typeface="Simplon Oi Headline"/>
                <a:cs typeface="Simplon Oi Headline"/>
              </a:rPr>
              <a:t>; (e)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ics</a:t>
            </a:r>
            <a:r>
              <a:rPr lang="en-US" sz="1800" i="0" dirty="0" smtClean="0">
                <a:latin typeface="Simplon Oi Headline"/>
                <a:cs typeface="Simplon Oi Headline"/>
              </a:rPr>
              <a:t>; (f) oi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vende</a:t>
            </a:r>
            <a:r>
              <a:rPr lang="en-US" sz="1800" i="0" dirty="0" smtClean="0">
                <a:latin typeface="Simplon Oi Headline"/>
                <a:cs typeface="Simplon Oi Headline"/>
              </a:rPr>
              <a:t> ?; (g)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crm</a:t>
            </a:r>
            <a:r>
              <a:rPr lang="en-US" sz="1800" i="0" dirty="0" smtClean="0">
                <a:latin typeface="Simplon Oi Headline"/>
                <a:cs typeface="Simplon Oi Headline"/>
              </a:rPr>
              <a:t> cloud ?</a:t>
            </a:r>
          </a:p>
          <a:p>
            <a:pPr marL="342900" indent="-342900"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1800" i="0" dirty="0" err="1">
                <a:latin typeface="Simplon Oi Headline"/>
                <a:cs typeface="Simplon Oi Headline"/>
              </a:rPr>
              <a:t>Impacto</a:t>
            </a:r>
            <a:r>
              <a:rPr lang="en-US" sz="1800" i="0" dirty="0">
                <a:latin typeface="Simplon Oi Headline"/>
                <a:cs typeface="Simplon Oi Headline"/>
              </a:rPr>
              <a:t> </a:t>
            </a:r>
            <a:r>
              <a:rPr lang="en-US" sz="1800" i="0" dirty="0" err="1">
                <a:solidFill>
                  <a:schemeClr val="accent6"/>
                </a:solidFill>
                <a:latin typeface="Simplon Oi Headline"/>
                <a:cs typeface="Simplon Oi Headline"/>
              </a:rPr>
              <a:t>processo</a:t>
            </a:r>
            <a:r>
              <a:rPr lang="en-US" sz="1800" i="0" dirty="0">
                <a:solidFill>
                  <a:schemeClr val="accent6"/>
                </a:solidFill>
                <a:latin typeface="Simplon Oi Headline"/>
                <a:cs typeface="Simplon Oi Headline"/>
              </a:rPr>
              <a:t> </a:t>
            </a:r>
            <a:r>
              <a:rPr lang="en-US" sz="1800" i="0" dirty="0" err="1">
                <a:solidFill>
                  <a:schemeClr val="accent6"/>
                </a:solidFill>
                <a:latin typeface="Simplon Oi Headline"/>
                <a:cs typeface="Simplon Oi Headline"/>
              </a:rPr>
              <a:t>vendas</a:t>
            </a:r>
            <a:r>
              <a:rPr lang="en-US" sz="1800" i="0" dirty="0">
                <a:solidFill>
                  <a:schemeClr val="accent6"/>
                </a:solidFill>
                <a:latin typeface="Simplon Oi Headline"/>
                <a:cs typeface="Simplon Oi Headline"/>
              </a:rPr>
              <a:t> </a:t>
            </a:r>
            <a:r>
              <a:rPr lang="en-US" sz="1800" i="0" dirty="0">
                <a:latin typeface="Simplon Oi Headline"/>
                <a:cs typeface="Simplon Oi Headline"/>
              </a:rPr>
              <a:t>(</a:t>
            </a:r>
            <a:r>
              <a:rPr lang="en-US" sz="1800" i="0" dirty="0" err="1">
                <a:latin typeface="Simplon Oi Headline"/>
                <a:cs typeface="Simplon Oi Headline"/>
              </a:rPr>
              <a:t>proposta</a:t>
            </a:r>
            <a:r>
              <a:rPr lang="en-US" sz="1800" i="0" dirty="0">
                <a:latin typeface="Simplon Oi Headline"/>
                <a:cs typeface="Simplon Oi Headline"/>
              </a:rPr>
              <a:t>, </a:t>
            </a:r>
            <a:r>
              <a:rPr lang="en-US" sz="1800" i="0" dirty="0" err="1">
                <a:latin typeface="Simplon Oi Headline"/>
                <a:cs typeface="Simplon Oi Headline"/>
              </a:rPr>
              <a:t>contrato</a:t>
            </a:r>
            <a:r>
              <a:rPr lang="en-US" sz="1800" i="0" dirty="0">
                <a:latin typeface="Simplon Oi Headline"/>
                <a:cs typeface="Simplon Oi Headline"/>
              </a:rPr>
              <a:t>, score </a:t>
            </a:r>
            <a:r>
              <a:rPr lang="en-US" sz="1800" i="0" dirty="0" err="1">
                <a:latin typeface="Simplon Oi Headline"/>
                <a:cs typeface="Simplon Oi Headline"/>
              </a:rPr>
              <a:t>externo</a:t>
            </a:r>
            <a:r>
              <a:rPr lang="en-US" sz="1800" i="0" dirty="0">
                <a:latin typeface="Simplon Oi Headline"/>
                <a:cs typeface="Simplon Oi Headline"/>
              </a:rPr>
              <a:t>, </a:t>
            </a:r>
            <a:r>
              <a:rPr lang="en-US" sz="1800" i="0" dirty="0" err="1">
                <a:latin typeface="Simplon Oi Headline"/>
                <a:cs typeface="Simplon Oi Headline"/>
              </a:rPr>
              <a:t>canais</a:t>
            </a:r>
            <a:r>
              <a:rPr lang="en-US" sz="1800" i="0" dirty="0" smtClean="0">
                <a:latin typeface="Simplon Oi Headline"/>
                <a:cs typeface="Simplon Oi Headline"/>
              </a:rPr>
              <a:t>)</a:t>
            </a:r>
          </a:p>
          <a:p>
            <a:pPr marL="342900" indent="-342900"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1800" i="0" dirty="0" err="1" smtClean="0">
                <a:latin typeface="Simplon Oi Headline"/>
                <a:cs typeface="Simplon Oi Headline"/>
              </a:rPr>
              <a:t>Geografia</a:t>
            </a:r>
            <a:r>
              <a:rPr lang="en-US" sz="1800" i="0" dirty="0" smtClean="0">
                <a:latin typeface="Simplon Oi Headline"/>
                <a:cs typeface="Simplon Oi Headline"/>
              </a:rPr>
              <a:t>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projeto</a:t>
            </a:r>
            <a:r>
              <a:rPr lang="en-US" sz="1800" i="0" dirty="0">
                <a:latin typeface="Simplon Oi Headline"/>
                <a:cs typeface="Simplon Oi Headline"/>
              </a:rPr>
              <a:t> </a:t>
            </a:r>
            <a:r>
              <a:rPr lang="en-US" sz="1800" i="0" dirty="0" smtClean="0">
                <a:latin typeface="Simplon Oi Headline"/>
                <a:cs typeface="Simplon Oi Headline"/>
              </a:rPr>
              <a:t>– </a:t>
            </a:r>
            <a:r>
              <a:rPr lang="en-US" sz="1800" i="0" dirty="0" smtClean="0">
                <a:solidFill>
                  <a:schemeClr val="accent6"/>
                </a:solidFill>
                <a:latin typeface="Simplon Oi Headline"/>
                <a:cs typeface="Simplon Oi Headline"/>
              </a:rPr>
              <a:t>times oi </a:t>
            </a:r>
            <a:r>
              <a:rPr lang="en-US" sz="1800" i="0" dirty="0" err="1" smtClean="0">
                <a:solidFill>
                  <a:schemeClr val="accent6"/>
                </a:solidFill>
                <a:latin typeface="Simplon Oi Headline"/>
                <a:cs typeface="Simplon Oi Headline"/>
              </a:rPr>
              <a:t>dispersos</a:t>
            </a:r>
            <a:r>
              <a:rPr lang="en-US" sz="1800" i="0" dirty="0" smtClean="0">
                <a:solidFill>
                  <a:schemeClr val="accent6"/>
                </a:solidFill>
                <a:latin typeface="Simplon Oi Headline"/>
                <a:cs typeface="Simplon Oi Headline"/>
              </a:rPr>
              <a:t> entre </a:t>
            </a:r>
            <a:r>
              <a:rPr lang="en-US" sz="1800" i="0" dirty="0" err="1" smtClean="0">
                <a:solidFill>
                  <a:schemeClr val="accent6"/>
                </a:solidFill>
                <a:latin typeface="Simplon Oi Headline"/>
                <a:cs typeface="Simplon Oi Headline"/>
              </a:rPr>
              <a:t>rj</a:t>
            </a:r>
            <a:r>
              <a:rPr lang="en-US" sz="1800" i="0" dirty="0" smtClean="0">
                <a:solidFill>
                  <a:schemeClr val="accent6"/>
                </a:solidFill>
                <a:latin typeface="Simplon Oi Headline"/>
                <a:cs typeface="Simplon Oi Headline"/>
              </a:rPr>
              <a:t> e </a:t>
            </a:r>
            <a:r>
              <a:rPr lang="en-US" sz="1800" i="0" dirty="0" err="1" smtClean="0">
                <a:solidFill>
                  <a:schemeClr val="accent6"/>
                </a:solidFill>
                <a:latin typeface="Simplon Oi Headline"/>
                <a:cs typeface="Simplon Oi Headline"/>
              </a:rPr>
              <a:t>bh</a:t>
            </a:r>
            <a:r>
              <a:rPr lang="en-US" sz="1800" i="0" dirty="0" smtClean="0">
                <a:latin typeface="Simplon Oi Headline"/>
                <a:cs typeface="Simplon Oi Headline"/>
              </a:rPr>
              <a:t> / times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wedo</a:t>
            </a:r>
            <a:r>
              <a:rPr lang="en-US" sz="1800" i="0" dirty="0" smtClean="0">
                <a:latin typeface="Simplon Oi Headline"/>
                <a:cs typeface="Simplon Oi Headline"/>
              </a:rPr>
              <a:t> entre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sc</a:t>
            </a:r>
            <a:r>
              <a:rPr lang="en-US" sz="1800" i="0" dirty="0" smtClean="0">
                <a:latin typeface="Simplon Oi Headline"/>
                <a:cs typeface="Simplon Oi Headline"/>
              </a:rPr>
              <a:t>,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rj</a:t>
            </a:r>
            <a:r>
              <a:rPr lang="en-US" sz="1800" i="0" dirty="0" smtClean="0">
                <a:latin typeface="Simplon Oi Headline"/>
                <a:cs typeface="Simplon Oi Headline"/>
              </a:rPr>
              <a:t> e Portugal</a:t>
            </a:r>
          </a:p>
          <a:p>
            <a:pPr marL="342900" indent="-342900"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1800" i="0" dirty="0" err="1" smtClean="0">
                <a:latin typeface="Simplon Oi Headline"/>
                <a:cs typeface="Simplon Oi Headline"/>
              </a:rPr>
              <a:t>prazo</a:t>
            </a:r>
            <a:r>
              <a:rPr lang="en-US" sz="1800" i="0" dirty="0" smtClean="0">
                <a:latin typeface="Simplon Oi Headline"/>
                <a:cs typeface="Simplon Oi Headline"/>
              </a:rPr>
              <a:t> de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projeto</a:t>
            </a:r>
            <a:r>
              <a:rPr lang="en-US" sz="1800" i="0" dirty="0" smtClean="0">
                <a:latin typeface="Simplon Oi Headline"/>
                <a:cs typeface="Simplon Oi Headline"/>
              </a:rPr>
              <a:t> entre 18-24meses </a:t>
            </a:r>
            <a:r>
              <a:rPr lang="en-US" sz="1050" i="0" dirty="0" smtClean="0">
                <a:latin typeface="Simplon BP Regular" pitchFamily="2" charset="0"/>
                <a:cs typeface="Simplon Oi Headline"/>
              </a:rPr>
              <a:t>OBS.: </a:t>
            </a:r>
            <a:r>
              <a:rPr lang="en-US" sz="1050" i="0" dirty="0" err="1" smtClean="0">
                <a:latin typeface="Simplon BP Regular" pitchFamily="2" charset="0"/>
                <a:cs typeface="Simplon Oi Headline"/>
              </a:rPr>
              <a:t>Contrato</a:t>
            </a:r>
            <a:r>
              <a:rPr lang="en-US" sz="1050" i="0" dirty="0" smtClean="0">
                <a:latin typeface="Simplon BP Regular" pitchFamily="2" charset="0"/>
                <a:cs typeface="Simplon Oi Headline"/>
              </a:rPr>
              <a:t> HP </a:t>
            </a:r>
            <a:r>
              <a:rPr lang="en-US" sz="1050" i="0" dirty="0" err="1" smtClean="0">
                <a:latin typeface="Simplon BP Regular" pitchFamily="2" charset="0"/>
                <a:cs typeface="Simplon Oi Headline"/>
              </a:rPr>
              <a:t>venceu</a:t>
            </a:r>
            <a:r>
              <a:rPr lang="en-US" sz="1050" i="0" dirty="0" smtClean="0">
                <a:latin typeface="Simplon BP Regular" pitchFamily="2" charset="0"/>
                <a:cs typeface="Simplon Oi Headline"/>
              </a:rPr>
              <a:t> no 1oSem17 e </a:t>
            </a:r>
            <a:r>
              <a:rPr lang="en-US" sz="1050" i="0" dirty="0" err="1" smtClean="0">
                <a:latin typeface="Simplon BP Regular" pitchFamily="2" charset="0"/>
                <a:cs typeface="Simplon Oi Headline"/>
              </a:rPr>
              <a:t>não</a:t>
            </a:r>
            <a:r>
              <a:rPr lang="en-US" sz="1050" i="0" dirty="0" smtClean="0">
                <a:latin typeface="Simplon BP Regular" pitchFamily="2" charset="0"/>
                <a:cs typeface="Simplon Oi Headline"/>
              </a:rPr>
              <a:t> </a:t>
            </a:r>
            <a:r>
              <a:rPr lang="en-US" sz="1050" i="0" dirty="0" err="1" smtClean="0">
                <a:latin typeface="Simplon BP Regular" pitchFamily="2" charset="0"/>
                <a:cs typeface="Simplon Oi Headline"/>
              </a:rPr>
              <a:t>foi</a:t>
            </a:r>
            <a:r>
              <a:rPr lang="en-US" sz="1050" i="0" dirty="0" smtClean="0">
                <a:latin typeface="Simplon BP Regular" pitchFamily="2" charset="0"/>
                <a:cs typeface="Simplon Oi Headline"/>
              </a:rPr>
              <a:t> </a:t>
            </a:r>
            <a:r>
              <a:rPr lang="en-US" sz="1050" i="0" dirty="0" err="1" smtClean="0">
                <a:latin typeface="Simplon BP Regular" pitchFamily="2" charset="0"/>
                <a:cs typeface="Simplon Oi Headline"/>
              </a:rPr>
              <a:t>renovado</a:t>
            </a:r>
            <a:endParaRPr lang="en-US" sz="1800" i="0" dirty="0" smtClean="0">
              <a:latin typeface="Simplon Oi Headline"/>
              <a:cs typeface="Simplon Oi Headline"/>
            </a:endParaRPr>
          </a:p>
          <a:p>
            <a:pPr marL="342900" indent="-342900"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1800" i="0" dirty="0" err="1" smtClean="0">
                <a:latin typeface="Simplon Oi Headline"/>
                <a:cs typeface="Simplon Oi Headline"/>
              </a:rPr>
              <a:t>Abordagem</a:t>
            </a:r>
            <a:r>
              <a:rPr lang="en-US" sz="1800" i="0" dirty="0" smtClean="0">
                <a:latin typeface="Simplon Oi Headline"/>
                <a:cs typeface="Simplon Oi Headline"/>
              </a:rPr>
              <a:t> de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entregas</a:t>
            </a:r>
            <a:r>
              <a:rPr lang="en-US" sz="1800" i="0" dirty="0" smtClean="0">
                <a:latin typeface="Simplon Oi Headline"/>
                <a:cs typeface="Simplon Oi Headline"/>
              </a:rPr>
              <a:t>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em</a:t>
            </a:r>
            <a:r>
              <a:rPr lang="en-US" sz="1800" i="0" dirty="0" smtClean="0">
                <a:latin typeface="Simplon Oi Headline"/>
                <a:cs typeface="Simplon Oi Headline"/>
              </a:rPr>
              <a:t> </a:t>
            </a:r>
            <a:r>
              <a:rPr lang="en-US" sz="1800" i="0" dirty="0" err="1" smtClean="0">
                <a:latin typeface="Simplon Oi Headline"/>
                <a:cs typeface="Simplon Oi Headline"/>
              </a:rPr>
              <a:t>ondas</a:t>
            </a:r>
            <a:r>
              <a:rPr lang="en-US" sz="1800" i="0" dirty="0" smtClean="0">
                <a:latin typeface="Simplon Oi Headline"/>
                <a:cs typeface="Simplon Oi Headline"/>
              </a:rPr>
              <a:t> (agile?) e roll out com </a:t>
            </a:r>
            <a:r>
              <a:rPr lang="en-US" sz="1800" i="0" dirty="0" smtClean="0">
                <a:solidFill>
                  <a:schemeClr val="accent6"/>
                </a:solidFill>
                <a:latin typeface="Simplon Oi Headline"/>
                <a:cs typeface="Simplon Oi Headline"/>
              </a:rPr>
              <a:t>target de </a:t>
            </a:r>
            <a:r>
              <a:rPr lang="en-US" sz="1800" i="0" dirty="0" err="1" smtClean="0">
                <a:solidFill>
                  <a:schemeClr val="accent6"/>
                </a:solidFill>
                <a:latin typeface="Simplon Oi Headline"/>
                <a:cs typeface="Simplon Oi Headline"/>
              </a:rPr>
              <a:t>validação</a:t>
            </a:r>
            <a:r>
              <a:rPr lang="en-US" sz="1800" i="0" dirty="0" smtClean="0">
                <a:solidFill>
                  <a:schemeClr val="accent6"/>
                </a:solidFill>
                <a:latin typeface="Simplon Oi Headline"/>
                <a:cs typeface="Simplon Oi Headline"/>
              </a:rPr>
              <a:t> </a:t>
            </a:r>
            <a:r>
              <a:rPr lang="en-US" sz="1800" i="0" dirty="0" err="1" smtClean="0">
                <a:solidFill>
                  <a:schemeClr val="accent6"/>
                </a:solidFill>
                <a:latin typeface="Simplon Oi Headline"/>
                <a:cs typeface="Simplon Oi Headline"/>
              </a:rPr>
              <a:t>vendas</a:t>
            </a:r>
            <a:r>
              <a:rPr lang="en-US" sz="1800" i="0" dirty="0" smtClean="0">
                <a:solidFill>
                  <a:schemeClr val="accent6"/>
                </a:solidFill>
                <a:latin typeface="Simplon Oi Headline"/>
                <a:cs typeface="Simplon Oi Headline"/>
              </a:rPr>
              <a:t> oi total no natal 2017</a:t>
            </a:r>
            <a:endParaRPr lang="en-US" sz="1800" i="0" dirty="0">
              <a:solidFill>
                <a:schemeClr val="accent6"/>
              </a:solidFill>
              <a:latin typeface="Simplon Oi Headline"/>
              <a:cs typeface="Simplon Oi Headline"/>
            </a:endParaRPr>
          </a:p>
        </p:txBody>
      </p:sp>
      <p:sp>
        <p:nvSpPr>
          <p:cNvPr id="2" name="Pentágono 1"/>
          <p:cNvSpPr/>
          <p:nvPr/>
        </p:nvSpPr>
        <p:spPr>
          <a:xfrm>
            <a:off x="874207" y="3959052"/>
            <a:ext cx="1627832" cy="341644"/>
          </a:xfrm>
          <a:prstGeom prst="homePlate">
            <a:avLst>
              <a:gd name="adj" fmla="val 2647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400" dirty="0" smtClean="0">
                <a:solidFill>
                  <a:schemeClr val="bg1">
                    <a:lumMod val="65000"/>
                  </a:schemeClr>
                </a:solidFill>
                <a:latin typeface="Simplon BP Regular" pitchFamily="2" charset="0"/>
              </a:rPr>
              <a:t>SETUP</a:t>
            </a:r>
            <a:endParaRPr lang="pt-BR" sz="1400" dirty="0">
              <a:solidFill>
                <a:schemeClr val="bg1">
                  <a:lumMod val="6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3" name="Arredondar Retângulo em um Canto Único 2"/>
          <p:cNvSpPr/>
          <p:nvPr/>
        </p:nvSpPr>
        <p:spPr>
          <a:xfrm>
            <a:off x="874207" y="4349214"/>
            <a:ext cx="1105318" cy="552658"/>
          </a:xfrm>
          <a:prstGeom prst="round1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Simplon BP Regular" pitchFamily="2" charset="0"/>
              </a:rPr>
              <a:t>GREEN FIELD</a:t>
            </a:r>
          </a:p>
          <a:p>
            <a:pPr algn="ctr"/>
            <a:r>
              <a:rPr lang="pt-BR" sz="9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Simplon BP Regular" pitchFamily="2" charset="0"/>
              </a:rPr>
              <a:t>(OFF-LINE)</a:t>
            </a:r>
            <a:endParaRPr lang="pt-BR" sz="900" dirty="0">
              <a:solidFill>
                <a:schemeClr val="accent1">
                  <a:lumMod val="60000"/>
                  <a:lumOff val="40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13" name="Arredondar Retângulo em um Canto Único 12"/>
          <p:cNvSpPr/>
          <p:nvPr/>
        </p:nvSpPr>
        <p:spPr>
          <a:xfrm>
            <a:off x="2059108" y="4349214"/>
            <a:ext cx="1105318" cy="552658"/>
          </a:xfrm>
          <a:prstGeom prst="round1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Simplon BP Regular" pitchFamily="2" charset="0"/>
              </a:rPr>
              <a:t>INTEGRAÇÕES TRANSACT +</a:t>
            </a:r>
            <a:endParaRPr lang="pt-BR" sz="1200" dirty="0" smtClean="0">
              <a:solidFill>
                <a:schemeClr val="accent1">
                  <a:lumMod val="60000"/>
                  <a:lumOff val="40000"/>
                </a:schemeClr>
              </a:solidFill>
              <a:latin typeface="Simplon BP Regular" pitchFamily="2" charset="0"/>
            </a:endParaRPr>
          </a:p>
          <a:p>
            <a:pPr algn="ctr"/>
            <a:r>
              <a:rPr lang="pt-BR" sz="9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Simplon BP Regular" pitchFamily="2" charset="0"/>
              </a:rPr>
              <a:t>(ONLINE)</a:t>
            </a:r>
            <a:endParaRPr lang="pt-BR" sz="900" dirty="0">
              <a:solidFill>
                <a:schemeClr val="accent1">
                  <a:lumMod val="60000"/>
                  <a:lumOff val="40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14" name="Arredondar Retângulo em um Canto Único 13"/>
          <p:cNvSpPr/>
          <p:nvPr/>
        </p:nvSpPr>
        <p:spPr>
          <a:xfrm>
            <a:off x="3244009" y="4349214"/>
            <a:ext cx="1105318" cy="552658"/>
          </a:xfrm>
          <a:prstGeom prst="round1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Simplon BP Regular" pitchFamily="2" charset="0"/>
              </a:rPr>
              <a:t>REGRAS PREVENÇÃO</a:t>
            </a:r>
          </a:p>
          <a:p>
            <a:pPr algn="ctr"/>
            <a:r>
              <a:rPr lang="pt-BR" sz="9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Simplon BP Regular" pitchFamily="2" charset="0"/>
              </a:rPr>
              <a:t>(QUICK WIN OIT)</a:t>
            </a:r>
            <a:endParaRPr lang="pt-BR" sz="600" dirty="0">
              <a:solidFill>
                <a:schemeClr val="accent1">
                  <a:lumMod val="60000"/>
                  <a:lumOff val="40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16" name="Arredondar Retângulo em um Canto Único 15"/>
          <p:cNvSpPr/>
          <p:nvPr/>
        </p:nvSpPr>
        <p:spPr>
          <a:xfrm>
            <a:off x="4428910" y="4349214"/>
            <a:ext cx="1105318" cy="552658"/>
          </a:xfrm>
          <a:prstGeom prst="round1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Simplon BP Regular" pitchFamily="2" charset="0"/>
              </a:rPr>
              <a:t>NOVAS INTEGRAÇÕES</a:t>
            </a:r>
          </a:p>
          <a:p>
            <a:pPr algn="ctr"/>
            <a:r>
              <a:rPr lang="pt-BR" sz="9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Simplon BP Regular" pitchFamily="2" charset="0"/>
              </a:rPr>
              <a:t>CRM/DIGITAL/SCORE</a:t>
            </a:r>
            <a:endParaRPr lang="pt-BR" sz="600" dirty="0">
              <a:solidFill>
                <a:schemeClr val="accent1">
                  <a:lumMod val="60000"/>
                  <a:lumOff val="40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17" name="Arredondar Retângulo em um Canto Único 16"/>
          <p:cNvSpPr/>
          <p:nvPr/>
        </p:nvSpPr>
        <p:spPr>
          <a:xfrm>
            <a:off x="5613811" y="4349214"/>
            <a:ext cx="720000" cy="552658"/>
          </a:xfrm>
          <a:prstGeom prst="round1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Simplon BP Regular" pitchFamily="2" charset="0"/>
              </a:rPr>
              <a:t>TELAS E INFO BOs</a:t>
            </a:r>
          </a:p>
        </p:txBody>
      </p:sp>
      <p:sp>
        <p:nvSpPr>
          <p:cNvPr id="18" name="Arredondar Retângulo em um Canto Único 17"/>
          <p:cNvSpPr/>
          <p:nvPr/>
        </p:nvSpPr>
        <p:spPr>
          <a:xfrm>
            <a:off x="6413394" y="4349214"/>
            <a:ext cx="720000" cy="552658"/>
          </a:xfrm>
          <a:prstGeom prst="round1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Simplon BP Regular" pitchFamily="2" charset="0"/>
              </a:rPr>
              <a:t>SISTEMASSATÉLITES</a:t>
            </a:r>
          </a:p>
        </p:txBody>
      </p:sp>
      <p:sp>
        <p:nvSpPr>
          <p:cNvPr id="19" name="Arredondar Retângulo em um Canto Único 18"/>
          <p:cNvSpPr/>
          <p:nvPr/>
        </p:nvSpPr>
        <p:spPr>
          <a:xfrm>
            <a:off x="7200945" y="4349214"/>
            <a:ext cx="566840" cy="552658"/>
          </a:xfrm>
          <a:prstGeom prst="round1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Simplon BP Regular" pitchFamily="2" charset="0"/>
              </a:rPr>
              <a:t>HPFMS</a:t>
            </a:r>
          </a:p>
        </p:txBody>
      </p:sp>
      <p:sp>
        <p:nvSpPr>
          <p:cNvPr id="4" name="Elipse 3"/>
          <p:cNvSpPr/>
          <p:nvPr/>
        </p:nvSpPr>
        <p:spPr>
          <a:xfrm>
            <a:off x="1719943" y="4718404"/>
            <a:ext cx="341644" cy="34164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400" dirty="0" smtClean="0">
                <a:latin typeface="Simplon BP Regular" pitchFamily="2" charset="0"/>
              </a:rPr>
              <a:t>40</a:t>
            </a:r>
            <a:endParaRPr lang="pt-BR" sz="1400" dirty="0">
              <a:latin typeface="Simplon BP Regular" pitchFamily="2" charset="0"/>
            </a:endParaRPr>
          </a:p>
        </p:txBody>
      </p:sp>
      <p:sp>
        <p:nvSpPr>
          <p:cNvPr id="5" name="Retângulo de cantos arredondados 4"/>
          <p:cNvSpPr/>
          <p:nvPr/>
        </p:nvSpPr>
        <p:spPr>
          <a:xfrm>
            <a:off x="252663" y="4718404"/>
            <a:ext cx="621544" cy="34164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400" dirty="0" smtClean="0">
                <a:latin typeface="Simplon BP Regular" pitchFamily="2" charset="0"/>
              </a:rPr>
              <a:t>Dias OG</a:t>
            </a:r>
            <a:endParaRPr lang="pt-BR" sz="1400" dirty="0">
              <a:latin typeface="Simplon BP Regular" pitchFamily="2" charset="0"/>
            </a:endParaRPr>
          </a:p>
        </p:txBody>
      </p:sp>
      <p:sp>
        <p:nvSpPr>
          <p:cNvPr id="22" name="Elipse 21"/>
          <p:cNvSpPr/>
          <p:nvPr/>
        </p:nvSpPr>
        <p:spPr>
          <a:xfrm>
            <a:off x="2917727" y="4746274"/>
            <a:ext cx="341644" cy="34164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400" dirty="0" smtClean="0">
                <a:latin typeface="Simplon BP Regular" pitchFamily="2" charset="0"/>
              </a:rPr>
              <a:t>35</a:t>
            </a:r>
            <a:endParaRPr lang="pt-BR" sz="1400" dirty="0">
              <a:latin typeface="Simplon BP Regular" pitchFamily="2" charset="0"/>
            </a:endParaRPr>
          </a:p>
        </p:txBody>
      </p:sp>
      <p:sp>
        <p:nvSpPr>
          <p:cNvPr id="23" name="Elipse 22"/>
          <p:cNvSpPr/>
          <p:nvPr/>
        </p:nvSpPr>
        <p:spPr>
          <a:xfrm>
            <a:off x="4104792" y="4741184"/>
            <a:ext cx="341644" cy="34164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400" dirty="0" smtClean="0">
                <a:latin typeface="Simplon BP Regular" pitchFamily="2" charset="0"/>
              </a:rPr>
              <a:t>90</a:t>
            </a:r>
            <a:endParaRPr lang="pt-BR" sz="1400" dirty="0">
              <a:latin typeface="Simplon BP Regular" pitchFamily="2" charset="0"/>
            </a:endParaRPr>
          </a:p>
        </p:txBody>
      </p:sp>
      <p:sp>
        <p:nvSpPr>
          <p:cNvPr id="24" name="Elipse 23"/>
          <p:cNvSpPr/>
          <p:nvPr/>
        </p:nvSpPr>
        <p:spPr>
          <a:xfrm>
            <a:off x="5342756" y="4746274"/>
            <a:ext cx="341644" cy="34164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400" dirty="0" smtClean="0">
                <a:latin typeface="Simplon BP Regular" pitchFamily="2" charset="0"/>
              </a:rPr>
              <a:t>50</a:t>
            </a:r>
            <a:endParaRPr lang="pt-BR" sz="1400" dirty="0">
              <a:latin typeface="Simplon BP Regular" pitchFamily="2" charset="0"/>
            </a:endParaRPr>
          </a:p>
        </p:txBody>
      </p:sp>
      <p:sp>
        <p:nvSpPr>
          <p:cNvPr id="25" name="Elipse 24"/>
          <p:cNvSpPr/>
          <p:nvPr/>
        </p:nvSpPr>
        <p:spPr>
          <a:xfrm>
            <a:off x="6158074" y="4741184"/>
            <a:ext cx="341644" cy="34164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400" dirty="0" smtClean="0">
                <a:latin typeface="Simplon BP Regular" pitchFamily="2" charset="0"/>
              </a:rPr>
              <a:t>20</a:t>
            </a:r>
            <a:endParaRPr lang="pt-BR" sz="1400" dirty="0">
              <a:latin typeface="Simplon BP Regular" pitchFamily="2" charset="0"/>
            </a:endParaRPr>
          </a:p>
        </p:txBody>
      </p:sp>
      <p:sp>
        <p:nvSpPr>
          <p:cNvPr id="26" name="Elipse 25"/>
          <p:cNvSpPr/>
          <p:nvPr/>
        </p:nvSpPr>
        <p:spPr>
          <a:xfrm>
            <a:off x="6879337" y="4741184"/>
            <a:ext cx="341644" cy="34164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400" dirty="0" smtClean="0">
                <a:latin typeface="Simplon BP Regular" pitchFamily="2" charset="0"/>
              </a:rPr>
              <a:t>90</a:t>
            </a:r>
            <a:endParaRPr lang="pt-BR" sz="1400" dirty="0">
              <a:latin typeface="Simplon BP Regular" pitchFamily="2" charset="0"/>
            </a:endParaRPr>
          </a:p>
        </p:txBody>
      </p:sp>
      <p:sp>
        <p:nvSpPr>
          <p:cNvPr id="28" name="Arredondar Retângulo em um Canto Único 27"/>
          <p:cNvSpPr/>
          <p:nvPr/>
        </p:nvSpPr>
        <p:spPr>
          <a:xfrm>
            <a:off x="7835336" y="4349214"/>
            <a:ext cx="897226" cy="552658"/>
          </a:xfrm>
          <a:prstGeom prst="round1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Simplon BP Regular" pitchFamily="2" charset="0"/>
              </a:rPr>
              <a:t>UPG. FUNC</a:t>
            </a:r>
          </a:p>
          <a:p>
            <a:pPr algn="ctr"/>
            <a:r>
              <a:rPr lang="pt-BR" sz="9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Simplon BP Regular" pitchFamily="2" charset="0"/>
              </a:rPr>
              <a:t>PREPG; AÇÕES AUTOMATICAS</a:t>
            </a:r>
          </a:p>
        </p:txBody>
      </p:sp>
      <p:sp>
        <p:nvSpPr>
          <p:cNvPr id="34" name="Elipse 33"/>
          <p:cNvSpPr/>
          <p:nvPr/>
        </p:nvSpPr>
        <p:spPr>
          <a:xfrm>
            <a:off x="7586889" y="4738328"/>
            <a:ext cx="341644" cy="34164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400" dirty="0" smtClean="0">
                <a:latin typeface="Simplon BP Regular" pitchFamily="2" charset="0"/>
              </a:rPr>
              <a:t>110</a:t>
            </a:r>
            <a:endParaRPr lang="pt-BR" sz="1400" dirty="0">
              <a:latin typeface="Simplon BP Regular" pitchFamily="2" charset="0"/>
            </a:endParaRPr>
          </a:p>
        </p:txBody>
      </p:sp>
      <p:sp>
        <p:nvSpPr>
          <p:cNvPr id="35" name="Elipse 34"/>
          <p:cNvSpPr/>
          <p:nvPr/>
        </p:nvSpPr>
        <p:spPr>
          <a:xfrm>
            <a:off x="8482267" y="4738328"/>
            <a:ext cx="341644" cy="34164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r>
              <a:rPr lang="pt-BR" sz="1400" dirty="0" smtClean="0">
                <a:latin typeface="Simplon BP Regular" pitchFamily="2" charset="0"/>
              </a:rPr>
              <a:t>40</a:t>
            </a:r>
            <a:endParaRPr lang="pt-BR" sz="14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8397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de cantos arredondados 9"/>
          <p:cNvSpPr/>
          <p:nvPr/>
        </p:nvSpPr>
        <p:spPr>
          <a:xfrm>
            <a:off x="979715" y="1158290"/>
            <a:ext cx="6574971" cy="838200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26" tIns="45713" rIns="91426" bIns="45713" rtlCol="0" anchor="ctr">
            <a:noAutofit/>
          </a:bodyPr>
          <a:lstStyle/>
          <a:p>
            <a:pPr algn="ctr" defTabSz="457118"/>
            <a:endParaRPr lang="pt-BR" sz="1400" dirty="0">
              <a:solidFill>
                <a:prstClr val="white"/>
              </a:solidFill>
              <a:latin typeface="Simplon BP Light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2377" y="82634"/>
            <a:ext cx="5520668" cy="4320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PAUTA – NOVO SISTEMA DE PREVENÇÃO A FRAUDE</a:t>
            </a:r>
            <a:endParaRPr lang="en-US" dirty="0"/>
          </a:p>
        </p:txBody>
      </p:sp>
      <p:sp>
        <p:nvSpPr>
          <p:cNvPr id="5" name="CaixaDeTexto 4"/>
          <p:cNvSpPr txBox="1"/>
          <p:nvPr/>
        </p:nvSpPr>
        <p:spPr>
          <a:xfrm>
            <a:off x="1001486" y="1230086"/>
            <a:ext cx="914400" cy="914400"/>
          </a:xfrm>
          <a:prstGeom prst="rect">
            <a:avLst/>
          </a:prstGeom>
          <a:noFill/>
        </p:spPr>
        <p:txBody>
          <a:bodyPr wrap="none" lIns="91426" tIns="45713" rIns="91426" bIns="45713" rtlCol="0">
            <a:noAutofit/>
          </a:bodyPr>
          <a:lstStyle/>
          <a:p>
            <a:pPr marL="342839" indent="-342839" defTabSz="457118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pt-BR" sz="2400" dirty="0" smtClean="0">
                <a:solidFill>
                  <a:prstClr val="black"/>
                </a:solidFill>
              </a:rPr>
              <a:t>OBJETIVO DO PROJETO</a:t>
            </a:r>
            <a:endParaRPr lang="pt-BR" sz="2400" dirty="0">
              <a:solidFill>
                <a:prstClr val="black"/>
              </a:solidFill>
            </a:endParaRPr>
          </a:p>
          <a:p>
            <a:pPr marL="342839" indent="-342839" defTabSz="457118"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pt-BR" sz="2400" dirty="0" smtClean="0">
              <a:solidFill>
                <a:prstClr val="black"/>
              </a:solidFill>
            </a:endParaRPr>
          </a:p>
          <a:p>
            <a:pPr marL="342839" indent="-342839" defTabSz="457118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pt-BR" sz="2400" dirty="0" smtClean="0">
                <a:solidFill>
                  <a:prstClr val="black"/>
                </a:solidFill>
              </a:rPr>
              <a:t>DESAFIOS EM PESSOAS/PROCESSOS/SISTEMA</a:t>
            </a:r>
          </a:p>
          <a:p>
            <a:pPr marL="342839" indent="-342839" defTabSz="457118"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pt-BR" sz="2400" dirty="0" smtClean="0">
              <a:solidFill>
                <a:prstClr val="black"/>
              </a:solidFill>
            </a:endParaRPr>
          </a:p>
          <a:p>
            <a:pPr marL="342839" indent="-342839" defTabSz="457118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pt-BR" sz="2400" dirty="0" smtClean="0">
                <a:solidFill>
                  <a:prstClr val="black"/>
                </a:solidFill>
              </a:rPr>
              <a:t>CRONOGRAMA</a:t>
            </a:r>
          </a:p>
          <a:p>
            <a:pPr marL="342839" indent="-342839" defTabSz="457118"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pt-BR" sz="2400" dirty="0">
              <a:solidFill>
                <a:prstClr val="black"/>
              </a:solidFill>
            </a:endParaRPr>
          </a:p>
          <a:p>
            <a:pPr marL="342839" indent="-342839" defTabSz="457118"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pt-BR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570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>
            <p:custDataLst>
              <p:tags r:id="rId1"/>
            </p:custDataLst>
          </p:nvPr>
        </p:nvSpPr>
        <p:spPr>
          <a:xfrm>
            <a:off x="142500" y="113541"/>
            <a:ext cx="9017057" cy="553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2000" b="0" i="0" noProof="0">
                <a:solidFill>
                  <a:schemeClr val="accent1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defTabSz="457130"/>
            <a:r>
              <a:rPr lang="pt-BR" sz="2400" dirty="0" smtClean="0">
                <a:solidFill>
                  <a:srgbClr val="8434BB"/>
                </a:solidFill>
              </a:rPr>
              <a:t>O</a:t>
            </a:r>
            <a:r>
              <a:rPr sz="2400" dirty="0" smtClean="0">
                <a:solidFill>
                  <a:srgbClr val="8434BB"/>
                </a:solidFill>
              </a:rPr>
              <a:t>bjetivo de reduzir os custos de fraude</a:t>
            </a:r>
            <a:endParaRPr sz="2400" dirty="0">
              <a:solidFill>
                <a:srgbClr val="8434BB"/>
              </a:solidFill>
            </a:endParaRPr>
          </a:p>
        </p:txBody>
      </p:sp>
      <p:sp>
        <p:nvSpPr>
          <p:cNvPr id="111" name="CaixaDeTexto 110"/>
          <p:cNvSpPr txBox="1"/>
          <p:nvPr>
            <p:custDataLst>
              <p:tags r:id="rId2"/>
            </p:custDataLst>
          </p:nvPr>
        </p:nvSpPr>
        <p:spPr>
          <a:xfrm>
            <a:off x="191436" y="1053707"/>
            <a:ext cx="4455248" cy="300081"/>
          </a:xfrm>
          <a:prstGeom prst="rect">
            <a:avLst/>
          </a:prstGeom>
          <a:noFill/>
        </p:spPr>
        <p:txBody>
          <a:bodyPr wrap="square" lIns="68559" tIns="34289" rIns="68559" bIns="34289" rtlCol="0">
            <a:spAutoFit/>
          </a:bodyPr>
          <a:lstStyle/>
          <a:p>
            <a:pPr eaLnBrk="0" hangingPunct="0"/>
            <a:r>
              <a:rPr lang="pt-BR" sz="1500" dirty="0">
                <a:solidFill>
                  <a:srgbClr val="009AA6"/>
                </a:solidFill>
                <a:latin typeface="Simplon BP Bold" pitchFamily="2" charset="0"/>
                <a:cs typeface="Arial"/>
              </a:rPr>
              <a:t>FUNIL DE FRAUDES (R$ MM)</a:t>
            </a:r>
          </a:p>
        </p:txBody>
      </p:sp>
      <p:sp>
        <p:nvSpPr>
          <p:cNvPr id="102" name="CaixaDeTexto 101"/>
          <p:cNvSpPr txBox="1"/>
          <p:nvPr>
            <p:custDataLst>
              <p:tags r:id="rId3"/>
            </p:custDataLst>
          </p:nvPr>
        </p:nvSpPr>
        <p:spPr>
          <a:xfrm>
            <a:off x="162681" y="300747"/>
            <a:ext cx="8584158" cy="55361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defPPr>
              <a:defRPr lang="en-US"/>
            </a:defPPr>
            <a:lvl1pPr>
              <a:lnSpc>
                <a:spcPts val="4200"/>
              </a:lnSpc>
              <a:spcBef>
                <a:spcPts val="0"/>
              </a:spcBef>
              <a:buNone/>
              <a:defRPr sz="2800" b="0" i="0" baseline="0">
                <a:solidFill>
                  <a:srgbClr val="00A596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685545"/>
            <a:r>
              <a:rPr lang="pt-BR" sz="1300" dirty="0">
                <a:solidFill>
                  <a:prstClr val="black"/>
                </a:solidFill>
              </a:rPr>
              <a:t>P/ redução dos ofensores de fraude atuais precisamos aumentar a prevenção no momento da venda.</a:t>
            </a:r>
          </a:p>
        </p:txBody>
      </p:sp>
      <p:sp>
        <p:nvSpPr>
          <p:cNvPr id="122" name="Retângulo 121"/>
          <p:cNvSpPr/>
          <p:nvPr/>
        </p:nvSpPr>
        <p:spPr>
          <a:xfrm>
            <a:off x="180885" y="1715072"/>
            <a:ext cx="3727733" cy="2257488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45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78" name="Retângulo 77"/>
          <p:cNvSpPr/>
          <p:nvPr/>
        </p:nvSpPr>
        <p:spPr>
          <a:xfrm rot="5400000">
            <a:off x="1850068" y="-265636"/>
            <a:ext cx="395801" cy="3713062"/>
          </a:xfrm>
          <a:prstGeom prst="rect">
            <a:avLst/>
          </a:prstGeom>
          <a:solidFill>
            <a:srgbClr val="00A596"/>
          </a:solidFill>
          <a:ln>
            <a:solidFill>
              <a:srgbClr val="00A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12" tIns="45706" rIns="91412" bIns="45706" rtlCol="0" anchor="ctr"/>
          <a:lstStyle/>
          <a:p>
            <a:pPr algn="ctr" defTabSz="685545"/>
            <a:r>
              <a:rPr lang="pt-BR" sz="1400" dirty="0">
                <a:solidFill>
                  <a:prstClr val="white"/>
                </a:solidFill>
                <a:latin typeface="Simplon BP Bold" pitchFamily="2" charset="0"/>
              </a:rPr>
              <a:t>PERDAS IDENTIFICADAS</a:t>
            </a:r>
          </a:p>
        </p:txBody>
      </p:sp>
      <p:sp>
        <p:nvSpPr>
          <p:cNvPr id="39" name="Content Placeholder 9"/>
          <p:cNvSpPr txBox="1">
            <a:spLocks/>
          </p:cNvSpPr>
          <p:nvPr/>
        </p:nvSpPr>
        <p:spPr>
          <a:xfrm>
            <a:off x="4203755" y="924649"/>
            <a:ext cx="4680519" cy="244020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  <a:defRPr/>
            </a:pPr>
            <a:r>
              <a:rPr lang="en-US" b="1" dirty="0"/>
              <a:t>Analise </a:t>
            </a:r>
            <a:r>
              <a:rPr lang="en-US" b="1" dirty="0" err="1"/>
              <a:t>Perdas</a:t>
            </a:r>
            <a:r>
              <a:rPr lang="en-US" b="1" dirty="0"/>
              <a:t>: </a:t>
            </a:r>
          </a:p>
          <a:p>
            <a:pPr>
              <a:defRPr/>
            </a:pPr>
            <a:r>
              <a:rPr lang="pt-BR" dirty="0"/>
              <a:t>As perdas de fraude em 2017 estão concentradas </a:t>
            </a:r>
            <a:r>
              <a:rPr lang="pt-BR" b="1" dirty="0"/>
              <a:t>(71%, R$9MM 1T17) </a:t>
            </a:r>
            <a:r>
              <a:rPr lang="pt-BR" dirty="0"/>
              <a:t>em cenários de venda indevida que geram JEC ou Instalação indevida, sendo a melhor </a:t>
            </a:r>
            <a:r>
              <a:rPr lang="pt-BR" b="1" dirty="0"/>
              <a:t>estratégia prevenir a fraude antes da instalação </a:t>
            </a:r>
            <a:r>
              <a:rPr lang="pt-BR" dirty="0"/>
              <a:t>no momenta da Venda (Onda 1 do projeto).</a:t>
            </a:r>
          </a:p>
          <a:p>
            <a:pPr>
              <a:defRPr/>
            </a:pPr>
            <a:endParaRPr lang="pt-BR" dirty="0"/>
          </a:p>
          <a:p>
            <a:r>
              <a:rPr lang="pt-BR" dirty="0"/>
              <a:t>As perdas relacionadas a tráfego que eram o principal ofensor em 2014/2015 estão controlados </a:t>
            </a:r>
            <a:r>
              <a:rPr lang="pt-BR" b="1" dirty="0"/>
              <a:t>(29%, R$3,5MM 1T17),</a:t>
            </a:r>
            <a:r>
              <a:rPr lang="pt-BR" dirty="0"/>
              <a:t> mas ainda são relevantes e consomem grande processamento. (Onda 2 do projeto)</a:t>
            </a:r>
            <a:r>
              <a:rPr lang="pt-BR" b="1" dirty="0"/>
              <a:t> </a:t>
            </a:r>
            <a:r>
              <a:rPr lang="pt-BR" dirty="0"/>
              <a:t> </a:t>
            </a:r>
          </a:p>
          <a:p>
            <a:endParaRPr lang="pt-BR" dirty="0"/>
          </a:p>
          <a:p>
            <a:r>
              <a:rPr lang="pt-BR" dirty="0"/>
              <a:t>Além dos custos do Funil de fraude temos um custo relevante da operação de </a:t>
            </a:r>
            <a:r>
              <a:rPr lang="pt-BR" dirty="0" err="1"/>
              <a:t>backoficce</a:t>
            </a:r>
            <a:r>
              <a:rPr lang="pt-BR" dirty="0"/>
              <a:t> para contato com os clientes com risco de fraude (235 </a:t>
            </a:r>
            <a:r>
              <a:rPr lang="pt-BR" dirty="0" err="1"/>
              <a:t>PAs</a:t>
            </a:r>
            <a:r>
              <a:rPr lang="pt-BR" dirty="0"/>
              <a:t> Contax, e 88 </a:t>
            </a:r>
            <a:r>
              <a:rPr lang="pt-BR" dirty="0" err="1"/>
              <a:t>PAs</a:t>
            </a:r>
            <a:r>
              <a:rPr lang="pt-BR" dirty="0"/>
              <a:t> BPO Fraude 1T17). Que iremos reduzir com a nova ferramenta com ganho de mais produtividade com todos operadores trabalhando na ferramenta integrada e telas flexíveis. </a:t>
            </a:r>
          </a:p>
        </p:txBody>
      </p:sp>
      <p:graphicFrame>
        <p:nvGraphicFramePr>
          <p:cNvPr id="12" name="Gráfico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9213220"/>
              </p:ext>
            </p:extLst>
          </p:nvPr>
        </p:nvGraphicFramePr>
        <p:xfrm>
          <a:off x="162681" y="1962777"/>
          <a:ext cx="3891159" cy="2121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191437" y="4084320"/>
            <a:ext cx="3435683" cy="2336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050" i="1" dirty="0" smtClean="0">
                <a:latin typeface="Georgia" pitchFamily="18" charset="0"/>
              </a:rPr>
              <a:t>2017* projetado, Real até </a:t>
            </a:r>
            <a:r>
              <a:rPr lang="pt-BR" sz="1050" i="1" dirty="0" err="1" smtClean="0">
                <a:latin typeface="Georgia" pitchFamily="18" charset="0"/>
              </a:rPr>
              <a:t>jun</a:t>
            </a:r>
            <a:r>
              <a:rPr lang="pt-BR" sz="1050" i="1" dirty="0" smtClean="0">
                <a:latin typeface="Georgia" pitchFamily="18" charset="0"/>
              </a:rPr>
              <a:t>/17 </a:t>
            </a:r>
          </a:p>
        </p:txBody>
      </p:sp>
    </p:spTree>
    <p:extLst>
      <p:ext uri="{BB962C8B-B14F-4D97-AF65-F5344CB8AC3E}">
        <p14:creationId xmlns:p14="http://schemas.microsoft.com/office/powerpoint/2010/main" val="3092158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tângulo 61"/>
          <p:cNvSpPr/>
          <p:nvPr/>
        </p:nvSpPr>
        <p:spPr>
          <a:xfrm>
            <a:off x="4838871" y="626278"/>
            <a:ext cx="4095535" cy="45134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accent6">
                    <a:lumMod val="75000"/>
                  </a:schemeClr>
                </a:solidFill>
                <a:latin typeface="Simplon Oi Headline"/>
                <a:ea typeface="ＭＳ Ｐゴシック" charset="0"/>
                <a:cs typeface="Simplon Oi Headline"/>
              </a:rPr>
              <a:t>FUTURO</a:t>
            </a:r>
            <a:endParaRPr lang="pt-BR" dirty="0">
              <a:solidFill>
                <a:schemeClr val="accent6">
                  <a:lumMod val="75000"/>
                </a:schemeClr>
              </a:solidFill>
              <a:latin typeface="Simplon Oi Headline"/>
              <a:ea typeface="ＭＳ Ｐゴシック" charset="0"/>
              <a:cs typeface="Simplon Oi Headline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84467" y="629728"/>
            <a:ext cx="4095535" cy="45134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accent6">
                    <a:lumMod val="75000"/>
                  </a:schemeClr>
                </a:solidFill>
                <a:latin typeface="Simplon Oi Headline"/>
                <a:ea typeface="ＭＳ Ｐゴシック" charset="0"/>
                <a:cs typeface="Simplon Oi Headline"/>
              </a:rPr>
              <a:t>HOJE</a:t>
            </a:r>
            <a:endParaRPr lang="pt-BR" dirty="0">
              <a:solidFill>
                <a:schemeClr val="accent6">
                  <a:lumMod val="75000"/>
                </a:schemeClr>
              </a:solidFill>
              <a:latin typeface="Simplon Oi Headline"/>
              <a:ea typeface="ＭＳ Ｐゴシック" charset="0"/>
              <a:cs typeface="Simplon Oi Headline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  <a:p>
            <a:pPr algn="ctr"/>
            <a:endParaRPr lang="pt-BR" sz="1400" dirty="0">
              <a:latin typeface="Simplon BP Regular"/>
              <a:cs typeface="Simplon BP Regular"/>
            </a:endParaRPr>
          </a:p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pic>
        <p:nvPicPr>
          <p:cNvPr id="1034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562" y="923988"/>
            <a:ext cx="3965944" cy="268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4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6159" y="811850"/>
            <a:ext cx="3620312" cy="2783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Seta para a direita 7"/>
          <p:cNvSpPr/>
          <p:nvPr/>
        </p:nvSpPr>
        <p:spPr>
          <a:xfrm>
            <a:off x="4271247" y="1781867"/>
            <a:ext cx="490153" cy="462913"/>
          </a:xfrm>
          <a:prstGeom prst="right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55" name="Título 2"/>
          <p:cNvSpPr txBox="1">
            <a:spLocks/>
          </p:cNvSpPr>
          <p:nvPr/>
        </p:nvSpPr>
        <p:spPr>
          <a:xfrm>
            <a:off x="265814" y="99064"/>
            <a:ext cx="8500657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3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r>
              <a:rPr lang="pt-BR" sz="1800" dirty="0" smtClean="0">
                <a:solidFill>
                  <a:schemeClr val="accent1"/>
                </a:solidFill>
              </a:rPr>
              <a:t>NOVO SISTEMA DE FRAUDE</a:t>
            </a:r>
            <a:endParaRPr lang="pt-BR" sz="1800" dirty="0">
              <a:solidFill>
                <a:schemeClr val="accent1"/>
              </a:solidFill>
            </a:endParaRPr>
          </a:p>
        </p:txBody>
      </p:sp>
      <p:sp>
        <p:nvSpPr>
          <p:cNvPr id="57" name="Retângulo 56"/>
          <p:cNvSpPr/>
          <p:nvPr/>
        </p:nvSpPr>
        <p:spPr>
          <a:xfrm>
            <a:off x="136223" y="3826723"/>
            <a:ext cx="3957313" cy="116835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177800" indent="-177800" defTabSz="457200">
              <a:spcAft>
                <a:spcPts val="900"/>
              </a:spcAft>
              <a:buFont typeface="Arial" pitchFamily="34" charset="0"/>
              <a:buChar char="•"/>
            </a:pPr>
            <a:r>
              <a:rPr lang="pt-BR" sz="12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Sistema principal HP FMS desatualizado, sendo necessário várias soluções segregadas</a:t>
            </a:r>
            <a:endParaRPr lang="pt-BR" sz="1200" dirty="0">
              <a:solidFill>
                <a:srgbClr val="000000"/>
              </a:solidFill>
              <a:latin typeface="Simplon BP" charset="0"/>
              <a:ea typeface="Simplon BP" charset="0"/>
              <a:cs typeface="Simplon BP" charset="0"/>
            </a:endParaRPr>
          </a:p>
          <a:p>
            <a:pPr marL="177800" indent="-177800" defTabSz="457200">
              <a:spcAft>
                <a:spcPts val="900"/>
              </a:spcAft>
              <a:buFont typeface="Arial" pitchFamily="34" charset="0"/>
              <a:buChar char="•"/>
            </a:pPr>
            <a:r>
              <a:rPr lang="pt-BR" sz="12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Processos de prevenção </a:t>
            </a:r>
            <a:r>
              <a:rPr lang="pt-BR" sz="1200" dirty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de fraude para Oi TV e Fixo R2 </a:t>
            </a:r>
            <a:r>
              <a:rPr lang="pt-BR" sz="12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sem ferramenta integrada de prevenção</a:t>
            </a:r>
            <a:endParaRPr lang="pt-BR" sz="1200" dirty="0">
              <a:solidFill>
                <a:srgbClr val="0000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58" name="Retângulo 57"/>
          <p:cNvSpPr/>
          <p:nvPr/>
        </p:nvSpPr>
        <p:spPr>
          <a:xfrm>
            <a:off x="104661" y="3610699"/>
            <a:ext cx="1872000" cy="21602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defTabSz="457200"/>
            <a:r>
              <a:rPr lang="pt-BR" sz="1200" b="1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Principais Problemas:</a:t>
            </a:r>
          </a:p>
        </p:txBody>
      </p:sp>
      <p:sp>
        <p:nvSpPr>
          <p:cNvPr id="59" name="Retângulo 58"/>
          <p:cNvSpPr/>
          <p:nvPr/>
        </p:nvSpPr>
        <p:spPr>
          <a:xfrm>
            <a:off x="4880350" y="3827068"/>
            <a:ext cx="3957313" cy="116801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177800" indent="-177800" defTabSz="457200">
              <a:spcAft>
                <a:spcPts val="300"/>
              </a:spcAft>
              <a:buFont typeface="Arial" pitchFamily="34" charset="0"/>
              <a:buChar char="•"/>
            </a:pPr>
            <a:r>
              <a:rPr lang="pt-BR" sz="1100" dirty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Modelagem preditiva e análise comportamental;</a:t>
            </a:r>
          </a:p>
          <a:p>
            <a:pPr marL="177800" indent="-177800" defTabSz="457200">
              <a:spcAft>
                <a:spcPts val="300"/>
              </a:spcAft>
              <a:buFont typeface="Arial" pitchFamily="34" charset="0"/>
              <a:buChar char="•"/>
            </a:pPr>
            <a:r>
              <a:rPr lang="pt-BR" sz="11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Regras </a:t>
            </a:r>
            <a:r>
              <a:rPr lang="pt-BR" sz="1100" dirty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e workflows de </a:t>
            </a:r>
            <a:r>
              <a:rPr lang="pt-BR" sz="1100" dirty="0" err="1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anti-fraude</a:t>
            </a:r>
            <a:r>
              <a:rPr lang="pt-BR" sz="1100" dirty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 unificados;</a:t>
            </a:r>
          </a:p>
          <a:p>
            <a:pPr marL="177800" indent="-177800" defTabSz="457200">
              <a:spcAft>
                <a:spcPts val="300"/>
              </a:spcAft>
              <a:buFont typeface="Arial" pitchFamily="34" charset="0"/>
              <a:buChar char="•"/>
            </a:pPr>
            <a:r>
              <a:rPr lang="pt-BR" sz="1100" dirty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Capacidade de análise e tomada de decisão em tempo real;</a:t>
            </a:r>
          </a:p>
          <a:p>
            <a:pPr marL="177800" indent="-177800" defTabSz="457200">
              <a:spcAft>
                <a:spcPts val="300"/>
              </a:spcAft>
              <a:buFont typeface="Arial" pitchFamily="34" charset="0"/>
              <a:buChar char="•"/>
            </a:pPr>
            <a:r>
              <a:rPr lang="pt-BR" sz="1100" dirty="0" smtClean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Combate </a:t>
            </a:r>
            <a:r>
              <a:rPr lang="pt-BR" sz="1100" dirty="0">
                <a:solidFill>
                  <a:srgbClr val="000000"/>
                </a:solidFill>
                <a:latin typeface="Simplon BP" charset="0"/>
                <a:ea typeface="Simplon BP" charset="0"/>
                <a:cs typeface="Simplon BP" charset="0"/>
              </a:rPr>
              <a:t>a fraude de novos canais e serviços digitais.</a:t>
            </a:r>
          </a:p>
        </p:txBody>
      </p:sp>
      <p:sp>
        <p:nvSpPr>
          <p:cNvPr id="61" name="Retângulo 60"/>
          <p:cNvSpPr/>
          <p:nvPr/>
        </p:nvSpPr>
        <p:spPr>
          <a:xfrm>
            <a:off x="4848788" y="3611044"/>
            <a:ext cx="1872000" cy="21602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defTabSz="457200"/>
            <a:r>
              <a:rPr lang="pt-BR" sz="1200" b="1" dirty="0" smtClean="0">
                <a:solidFill>
                  <a:srgbClr val="000000"/>
                </a:solidFill>
                <a:latin typeface="Simplon BP Regular"/>
                <a:cs typeface="Simplon BP Regular"/>
              </a:rPr>
              <a:t>Principais Benefícios:</a:t>
            </a:r>
          </a:p>
        </p:txBody>
      </p:sp>
    </p:spTree>
    <p:extLst>
      <p:ext uri="{BB962C8B-B14F-4D97-AF65-F5344CB8AC3E}">
        <p14:creationId xmlns:p14="http://schemas.microsoft.com/office/powerpoint/2010/main" val="11963400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3344749034"/>
              </p:ext>
            </p:extLst>
          </p:nvPr>
        </p:nvGraphicFramePr>
        <p:xfrm>
          <a:off x="457200" y="539750"/>
          <a:ext cx="845312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itle 22"/>
          <p:cNvSpPr txBox="1">
            <a:spLocks/>
          </p:cNvSpPr>
          <p:nvPr/>
        </p:nvSpPr>
        <p:spPr>
          <a:xfrm>
            <a:off x="139169" y="4060"/>
            <a:ext cx="9144000" cy="528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800" i="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Macro - CRONOGRAMA</a:t>
            </a:r>
            <a:endParaRPr lang="en-US" sz="2800" i="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30" name="Retângulo 29"/>
          <p:cNvSpPr/>
          <p:nvPr/>
        </p:nvSpPr>
        <p:spPr>
          <a:xfrm>
            <a:off x="139169" y="532541"/>
            <a:ext cx="8875265" cy="4490586"/>
          </a:xfrm>
          <a:prstGeom prst="rect">
            <a:avLst/>
          </a:prstGeom>
          <a:noFill/>
          <a:ln>
            <a:solidFill>
              <a:srgbClr val="7030A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31" name="Title 22"/>
          <p:cNvSpPr txBox="1">
            <a:spLocks/>
          </p:cNvSpPr>
          <p:nvPr/>
        </p:nvSpPr>
        <p:spPr>
          <a:xfrm>
            <a:off x="179808" y="425141"/>
            <a:ext cx="8073957" cy="528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en-US" sz="2000" i="0" dirty="0" err="1" smtClean="0">
                <a:solidFill>
                  <a:srgbClr val="089E9E"/>
                </a:solidFill>
                <a:latin typeface="Simplon Oi Headline"/>
                <a:cs typeface="Simplon Oi Headline"/>
              </a:rPr>
              <a:t>Onda</a:t>
            </a:r>
            <a:r>
              <a:rPr lang="en-US" sz="2000" i="0" dirty="0" smtClean="0">
                <a:solidFill>
                  <a:srgbClr val="089E9E"/>
                </a:solidFill>
                <a:latin typeface="Simplon Oi Headline"/>
                <a:cs typeface="Simplon Oi Headline"/>
              </a:rPr>
              <a:t> 1 – </a:t>
            </a:r>
            <a:r>
              <a:rPr lang="en-US" sz="2000" i="0" dirty="0" err="1" smtClean="0">
                <a:solidFill>
                  <a:srgbClr val="089E9E"/>
                </a:solidFill>
                <a:latin typeface="Simplon Oi Headline"/>
                <a:cs typeface="Simplon Oi Headline"/>
              </a:rPr>
              <a:t>prevenção</a:t>
            </a:r>
            <a:r>
              <a:rPr lang="en-US" sz="2000" i="0" dirty="0" smtClean="0">
                <a:solidFill>
                  <a:srgbClr val="089E9E"/>
                </a:solidFill>
                <a:latin typeface="Simplon Oi Headline"/>
                <a:cs typeface="Simplon Oi Headline"/>
              </a:rPr>
              <a:t> </a:t>
            </a:r>
            <a:r>
              <a:rPr lang="en-US" sz="2000" i="0" dirty="0" err="1" smtClean="0">
                <a:solidFill>
                  <a:srgbClr val="089E9E"/>
                </a:solidFill>
                <a:latin typeface="Simplon Oi Headline"/>
                <a:cs typeface="Simplon Oi Headline"/>
              </a:rPr>
              <a:t>na</a:t>
            </a:r>
            <a:r>
              <a:rPr lang="en-US" sz="2000" i="0" dirty="0" smtClean="0">
                <a:solidFill>
                  <a:srgbClr val="089E9E"/>
                </a:solidFill>
                <a:latin typeface="Simplon Oi Headline"/>
                <a:cs typeface="Simplon Oi Headline"/>
              </a:rPr>
              <a:t> </a:t>
            </a:r>
            <a:r>
              <a:rPr lang="en-US" sz="2000" i="0" dirty="0" err="1" smtClean="0">
                <a:solidFill>
                  <a:srgbClr val="089E9E"/>
                </a:solidFill>
                <a:latin typeface="Simplon Oi Headline"/>
                <a:cs typeface="Simplon Oi Headline"/>
              </a:rPr>
              <a:t>venda</a:t>
            </a:r>
            <a:r>
              <a:rPr lang="en-US" sz="2000" i="0" dirty="0" smtClean="0">
                <a:solidFill>
                  <a:srgbClr val="089E9E"/>
                </a:solidFill>
                <a:latin typeface="Simplon Oi Headline"/>
                <a:cs typeface="Simplon Oi Headline"/>
              </a:rPr>
              <a:t>- 8 a 12 </a:t>
            </a:r>
            <a:r>
              <a:rPr lang="en-US" sz="2000" i="0" dirty="0" err="1" smtClean="0">
                <a:solidFill>
                  <a:srgbClr val="089E9E"/>
                </a:solidFill>
                <a:latin typeface="Simplon Oi Headline"/>
                <a:cs typeface="Simplon Oi Headline"/>
              </a:rPr>
              <a:t>meses</a:t>
            </a:r>
            <a:endParaRPr lang="en-US" sz="2000" i="0" dirty="0">
              <a:solidFill>
                <a:srgbClr val="089E9E"/>
              </a:solidFill>
              <a:latin typeface="Simplon Oi Headline"/>
              <a:cs typeface="Simplon Oi Headline"/>
            </a:endParaRPr>
          </a:p>
        </p:txBody>
      </p:sp>
    </p:spTree>
    <p:extLst>
      <p:ext uri="{BB962C8B-B14F-4D97-AF65-F5344CB8AC3E}">
        <p14:creationId xmlns:p14="http://schemas.microsoft.com/office/powerpoint/2010/main" val="663227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1733432946"/>
              </p:ext>
            </p:extLst>
          </p:nvPr>
        </p:nvGraphicFramePr>
        <p:xfrm>
          <a:off x="457200" y="539750"/>
          <a:ext cx="845312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itle 22"/>
          <p:cNvSpPr txBox="1">
            <a:spLocks/>
          </p:cNvSpPr>
          <p:nvPr/>
        </p:nvSpPr>
        <p:spPr>
          <a:xfrm>
            <a:off x="139169" y="4060"/>
            <a:ext cx="9144000" cy="528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800" i="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Macro -CRONOGRAMA</a:t>
            </a:r>
            <a:endParaRPr lang="en-US" sz="2800" i="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30" name="Retângulo 29"/>
          <p:cNvSpPr/>
          <p:nvPr/>
        </p:nvSpPr>
        <p:spPr>
          <a:xfrm>
            <a:off x="139169" y="532541"/>
            <a:ext cx="8875265" cy="4490586"/>
          </a:xfrm>
          <a:prstGeom prst="rect">
            <a:avLst/>
          </a:prstGeom>
          <a:noFill/>
          <a:ln>
            <a:solidFill>
              <a:srgbClr val="7030A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31" name="Title 22"/>
          <p:cNvSpPr txBox="1">
            <a:spLocks/>
          </p:cNvSpPr>
          <p:nvPr/>
        </p:nvSpPr>
        <p:spPr>
          <a:xfrm>
            <a:off x="179808" y="425141"/>
            <a:ext cx="8073957" cy="528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en-US" sz="2000" i="0" dirty="0" err="1" smtClean="0">
                <a:solidFill>
                  <a:srgbClr val="089E9E"/>
                </a:solidFill>
                <a:latin typeface="Simplon Oi Headline"/>
                <a:cs typeface="Simplon Oi Headline"/>
              </a:rPr>
              <a:t>Onda</a:t>
            </a:r>
            <a:r>
              <a:rPr lang="en-US" sz="2000" i="0" dirty="0" smtClean="0">
                <a:solidFill>
                  <a:srgbClr val="089E9E"/>
                </a:solidFill>
                <a:latin typeface="Simplon Oi Headline"/>
                <a:cs typeface="Simplon Oi Headline"/>
              </a:rPr>
              <a:t> 2 – </a:t>
            </a:r>
            <a:r>
              <a:rPr lang="en-US" sz="2000" i="0" dirty="0" err="1" smtClean="0">
                <a:solidFill>
                  <a:srgbClr val="089E9E"/>
                </a:solidFill>
                <a:latin typeface="Simplon Oi Headline"/>
                <a:cs typeface="Simplon Oi Headline"/>
              </a:rPr>
              <a:t>detecção</a:t>
            </a:r>
            <a:r>
              <a:rPr lang="en-US" sz="2000" i="0" dirty="0" smtClean="0">
                <a:solidFill>
                  <a:srgbClr val="089E9E"/>
                </a:solidFill>
                <a:latin typeface="Simplon Oi Headline"/>
                <a:cs typeface="Simplon Oi Headline"/>
              </a:rPr>
              <a:t>- </a:t>
            </a:r>
            <a:r>
              <a:rPr lang="en-US" sz="2000" i="0" dirty="0">
                <a:solidFill>
                  <a:srgbClr val="089E9E"/>
                </a:solidFill>
                <a:latin typeface="Simplon Oi Headline"/>
                <a:cs typeface="Simplon Oi Headline"/>
              </a:rPr>
              <a:t>8 a 12 </a:t>
            </a:r>
            <a:r>
              <a:rPr lang="en-US" sz="2000" i="0" dirty="0" err="1" smtClean="0">
                <a:solidFill>
                  <a:srgbClr val="089E9E"/>
                </a:solidFill>
                <a:latin typeface="Simplon Oi Headline"/>
                <a:cs typeface="Simplon Oi Headline"/>
              </a:rPr>
              <a:t>meses</a:t>
            </a:r>
            <a:endParaRPr lang="en-US" sz="2000" i="0" dirty="0">
              <a:solidFill>
                <a:srgbClr val="089E9E"/>
              </a:solidFill>
              <a:latin typeface="Simplon Oi Headline"/>
              <a:cs typeface="Simplon Oi Headline"/>
            </a:endParaRPr>
          </a:p>
        </p:txBody>
      </p:sp>
    </p:spTree>
    <p:extLst>
      <p:ext uri="{BB962C8B-B14F-4D97-AF65-F5344CB8AC3E}">
        <p14:creationId xmlns:p14="http://schemas.microsoft.com/office/powerpoint/2010/main" val="1540761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>
            <p:custDataLst>
              <p:tags r:id="rId1"/>
            </p:custDataLst>
          </p:nvPr>
        </p:nvSpPr>
        <p:spPr>
          <a:xfrm>
            <a:off x="142500" y="113541"/>
            <a:ext cx="9017057" cy="553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2000" b="0" i="0" noProof="0">
                <a:solidFill>
                  <a:schemeClr val="accent1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defTabSz="457130"/>
            <a:r>
              <a:rPr lang="pt-BR" sz="2400" dirty="0" smtClean="0">
                <a:solidFill>
                  <a:srgbClr val="8434BB"/>
                </a:solidFill>
              </a:rPr>
              <a:t>Principais riscos</a:t>
            </a:r>
            <a:endParaRPr sz="2400" dirty="0">
              <a:solidFill>
                <a:srgbClr val="8434BB"/>
              </a:solidFill>
            </a:endParaRP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748189140"/>
              </p:ext>
            </p:extLst>
          </p:nvPr>
        </p:nvGraphicFramePr>
        <p:xfrm>
          <a:off x="71380" y="667154"/>
          <a:ext cx="7894060" cy="47109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01637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2"/>
          <p:cNvSpPr txBox="1">
            <a:spLocks/>
          </p:cNvSpPr>
          <p:nvPr/>
        </p:nvSpPr>
        <p:spPr>
          <a:xfrm>
            <a:off x="139169" y="4060"/>
            <a:ext cx="9144000" cy="528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800" i="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Plataforma </a:t>
            </a:r>
            <a:r>
              <a:rPr lang="pt-BR" sz="2800" i="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antispam</a:t>
            </a:r>
            <a:endParaRPr lang="en-US" sz="2800" i="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30" name="Retângulo 29"/>
          <p:cNvSpPr/>
          <p:nvPr/>
        </p:nvSpPr>
        <p:spPr>
          <a:xfrm>
            <a:off x="139169" y="532541"/>
            <a:ext cx="8875265" cy="4490586"/>
          </a:xfrm>
          <a:prstGeom prst="rect">
            <a:avLst/>
          </a:prstGeom>
          <a:noFill/>
          <a:ln>
            <a:solidFill>
              <a:srgbClr val="7030A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31" name="Title 22"/>
          <p:cNvSpPr txBox="1">
            <a:spLocks/>
          </p:cNvSpPr>
          <p:nvPr/>
        </p:nvSpPr>
        <p:spPr>
          <a:xfrm>
            <a:off x="179808" y="425141"/>
            <a:ext cx="8073957" cy="528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en-US" sz="2000" i="0" dirty="0" err="1" smtClean="0">
                <a:solidFill>
                  <a:srgbClr val="089E9E"/>
                </a:solidFill>
                <a:latin typeface="Simplon Oi Headline"/>
                <a:cs typeface="Simplon Oi Headline"/>
              </a:rPr>
              <a:t>processos</a:t>
            </a:r>
            <a:endParaRPr lang="en-US" sz="2000" i="0" dirty="0">
              <a:solidFill>
                <a:srgbClr val="089E9E"/>
              </a:solidFill>
              <a:latin typeface="Simplon Oi Headline"/>
              <a:cs typeface="Simplon Oi Headline"/>
            </a:endParaRPr>
          </a:p>
        </p:txBody>
      </p:sp>
      <p:sp>
        <p:nvSpPr>
          <p:cNvPr id="32" name="Title 22"/>
          <p:cNvSpPr txBox="1">
            <a:spLocks/>
          </p:cNvSpPr>
          <p:nvPr/>
        </p:nvSpPr>
        <p:spPr>
          <a:xfrm>
            <a:off x="194315" y="2378755"/>
            <a:ext cx="8073957" cy="528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en-US" sz="2000" i="0" dirty="0" smtClean="0">
                <a:solidFill>
                  <a:srgbClr val="089E9E"/>
                </a:solidFill>
                <a:latin typeface="Simplon Oi Headline"/>
                <a:cs typeface="Simplon Oi Headline"/>
              </a:rPr>
              <a:t>SISTEMA</a:t>
            </a:r>
            <a:endParaRPr lang="en-US" sz="2000" i="0" dirty="0">
              <a:solidFill>
                <a:srgbClr val="089E9E"/>
              </a:solidFill>
              <a:latin typeface="Simplon Oi Headline"/>
              <a:cs typeface="Simplon Oi Headline"/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194315" y="953621"/>
            <a:ext cx="10245599" cy="3691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628650" lvl="1" indent="-171450" defTabSz="457200">
              <a:lnSpc>
                <a:spcPts val="900"/>
              </a:lnSpc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1100" b="1" kern="1000" dirty="0">
                <a:solidFill>
                  <a:prstClr val="black"/>
                </a:solidFill>
                <a:latin typeface="Simplon BP Regular" pitchFamily="2" charset="0"/>
              </a:rPr>
              <a:t>Revisar processo de </a:t>
            </a:r>
            <a:r>
              <a:rPr lang="pt-BR" sz="1100" b="1" kern="1000" dirty="0" smtClean="0">
                <a:solidFill>
                  <a:prstClr val="black"/>
                </a:solidFill>
                <a:latin typeface="Simplon BP Regular" pitchFamily="2" charset="0"/>
              </a:rPr>
              <a:t>venda</a:t>
            </a:r>
          </a:p>
          <a:p>
            <a:pPr marL="457200" lvl="1" defTabSz="457200">
              <a:lnSpc>
                <a:spcPts val="900"/>
              </a:lnSpc>
              <a:spcBef>
                <a:spcPts val="800"/>
              </a:spcBef>
            </a:pPr>
            <a:r>
              <a:rPr lang="pt-BR" sz="1050" kern="1000" dirty="0" smtClean="0">
                <a:solidFill>
                  <a:prstClr val="black"/>
                </a:solidFill>
                <a:latin typeface="Simplon BP Regular" pitchFamily="2" charset="0"/>
              </a:rPr>
              <a:t>- Vendedor hoje tem liberdade de imputar várias vendas para o mesmo CPF, “fugindo” das analise de fraudes</a:t>
            </a:r>
          </a:p>
          <a:p>
            <a:pPr marL="457200" lvl="1" defTabSz="457200">
              <a:lnSpc>
                <a:spcPts val="900"/>
              </a:lnSpc>
              <a:spcBef>
                <a:spcPts val="800"/>
              </a:spcBef>
            </a:pPr>
            <a:r>
              <a:rPr lang="pt-BR" sz="1050" kern="1000" dirty="0" smtClean="0">
                <a:solidFill>
                  <a:prstClr val="black"/>
                </a:solidFill>
                <a:latin typeface="Simplon BP Regular" pitchFamily="2" charset="0"/>
              </a:rPr>
              <a:t>- </a:t>
            </a:r>
            <a:r>
              <a:rPr lang="pt-BR" sz="1050" kern="1000" dirty="0">
                <a:solidFill>
                  <a:prstClr val="black"/>
                </a:solidFill>
                <a:latin typeface="Simplon BP Regular" pitchFamily="2" charset="0"/>
              </a:rPr>
              <a:t>Incluir novos campos no momento da Venda  ( Identidade, </a:t>
            </a:r>
            <a:r>
              <a:rPr lang="pt-BR" sz="1050" kern="1000" dirty="0" err="1">
                <a:solidFill>
                  <a:prstClr val="black"/>
                </a:solidFill>
                <a:latin typeface="Simplon BP Regular" pitchFamily="2" charset="0"/>
              </a:rPr>
              <a:t>tel</a:t>
            </a:r>
            <a:r>
              <a:rPr lang="pt-BR" sz="1050" kern="1000" dirty="0">
                <a:solidFill>
                  <a:prstClr val="black"/>
                </a:solidFill>
                <a:latin typeface="Simplon BP Regular" pitchFamily="2" charset="0"/>
              </a:rPr>
              <a:t> Binado, </a:t>
            </a:r>
            <a:r>
              <a:rPr lang="pt-BR" sz="1050" kern="1000" dirty="0" err="1">
                <a:solidFill>
                  <a:prstClr val="black"/>
                </a:solidFill>
                <a:latin typeface="Simplon BP Regular" pitchFamily="2" charset="0"/>
              </a:rPr>
              <a:t>etc</a:t>
            </a:r>
            <a:r>
              <a:rPr lang="pt-BR" sz="1050" kern="1000" dirty="0">
                <a:solidFill>
                  <a:prstClr val="black"/>
                </a:solidFill>
                <a:latin typeface="Simplon BP Regular" pitchFamily="2" charset="0"/>
              </a:rPr>
              <a:t>)</a:t>
            </a:r>
          </a:p>
          <a:p>
            <a:pPr marL="628650" lvl="1" indent="-171450" defTabSz="457200">
              <a:lnSpc>
                <a:spcPts val="900"/>
              </a:lnSpc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1050" b="1" kern="1000" dirty="0">
                <a:solidFill>
                  <a:prstClr val="black"/>
                </a:solidFill>
                <a:latin typeface="Simplon BP Regular" pitchFamily="2" charset="0"/>
              </a:rPr>
              <a:t>Aumentar </a:t>
            </a:r>
            <a:r>
              <a:rPr lang="pt-BR" sz="1050" b="1" kern="1000" dirty="0" smtClean="0">
                <a:solidFill>
                  <a:prstClr val="black"/>
                </a:solidFill>
                <a:latin typeface="Simplon BP Regular" pitchFamily="2" charset="0"/>
              </a:rPr>
              <a:t>vendas </a:t>
            </a:r>
            <a:r>
              <a:rPr lang="pt-BR" sz="1050" kern="1000" dirty="0" smtClean="0">
                <a:solidFill>
                  <a:prstClr val="black"/>
                </a:solidFill>
                <a:latin typeface="Simplon BP Regular" pitchFamily="2" charset="0"/>
              </a:rPr>
              <a:t>- </a:t>
            </a:r>
            <a:r>
              <a:rPr lang="pt-BR" sz="1050" kern="1000" dirty="0">
                <a:solidFill>
                  <a:prstClr val="black"/>
                </a:solidFill>
                <a:latin typeface="Simplon BP Regular" pitchFamily="2" charset="0"/>
              </a:rPr>
              <a:t>Evoluir as regras de negativa da venda nos casos de erro de cadastro e sem contato para  negar nos cenários de </a:t>
            </a:r>
            <a:r>
              <a:rPr lang="pt-BR" sz="1050" kern="1000" dirty="0" smtClean="0">
                <a:solidFill>
                  <a:prstClr val="black"/>
                </a:solidFill>
                <a:latin typeface="Simplon BP Regular" pitchFamily="2" charset="0"/>
              </a:rPr>
              <a:t>maior risco</a:t>
            </a:r>
          </a:p>
          <a:p>
            <a:pPr marL="457200" lvl="1" defTabSz="457200">
              <a:lnSpc>
                <a:spcPts val="900"/>
              </a:lnSpc>
              <a:spcBef>
                <a:spcPts val="800"/>
              </a:spcBef>
            </a:pPr>
            <a:r>
              <a:rPr lang="pt-BR" sz="1050" kern="1000" dirty="0" smtClean="0">
                <a:solidFill>
                  <a:prstClr val="black"/>
                </a:solidFill>
                <a:latin typeface="Simplon BP Regular" pitchFamily="2" charset="0"/>
              </a:rPr>
              <a:t>- Criar regras menos restritivas para parceiros com melhor histórico</a:t>
            </a:r>
            <a:endParaRPr lang="pt-BR" sz="1050" kern="1000" dirty="0">
              <a:solidFill>
                <a:prstClr val="black"/>
              </a:solidFill>
              <a:latin typeface="Simplon BP Regular" pitchFamily="2" charset="0"/>
            </a:endParaRPr>
          </a:p>
          <a:p>
            <a:pPr marL="628650" lvl="1" indent="-171450" defTabSz="457200">
              <a:lnSpc>
                <a:spcPts val="900"/>
              </a:lnSpc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1050" b="1" kern="1000" dirty="0">
                <a:solidFill>
                  <a:prstClr val="black"/>
                </a:solidFill>
                <a:latin typeface="Simplon BP Regular" pitchFamily="2" charset="0"/>
              </a:rPr>
              <a:t>Alteração processo </a:t>
            </a:r>
            <a:r>
              <a:rPr lang="pt-BR" sz="1050" b="1" kern="1000" dirty="0" smtClean="0">
                <a:solidFill>
                  <a:prstClr val="black"/>
                </a:solidFill>
                <a:latin typeface="Simplon BP Regular" pitchFamily="2" charset="0"/>
              </a:rPr>
              <a:t>BPO : </a:t>
            </a:r>
            <a:r>
              <a:rPr lang="pt-BR" sz="1050" kern="1000" dirty="0" smtClean="0">
                <a:solidFill>
                  <a:prstClr val="black"/>
                </a:solidFill>
                <a:latin typeface="Simplon BP Regular" pitchFamily="2" charset="0"/>
              </a:rPr>
              <a:t> Necessidade </a:t>
            </a:r>
            <a:r>
              <a:rPr lang="pt-BR" sz="1050" kern="1000" dirty="0">
                <a:solidFill>
                  <a:prstClr val="black"/>
                </a:solidFill>
                <a:latin typeface="Simplon BP Regular" pitchFamily="2" charset="0"/>
              </a:rPr>
              <a:t>do BPO para  especificação/teste/treinamento do processo de Detecção </a:t>
            </a:r>
            <a:endParaRPr lang="pt-BR" sz="1050" kern="10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pPr marL="628650" lvl="1" indent="-171450" defTabSz="457200">
              <a:lnSpc>
                <a:spcPts val="900"/>
              </a:lnSpc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1050" b="1" kern="1000" dirty="0" smtClean="0">
                <a:solidFill>
                  <a:prstClr val="black"/>
                </a:solidFill>
                <a:latin typeface="Simplon BP Regular" pitchFamily="2" charset="0"/>
              </a:rPr>
              <a:t>Não ganhar produtividade no contato Humano Contax UTC e Crédito: </a:t>
            </a:r>
            <a:r>
              <a:rPr lang="pt-BR" sz="1050" kern="1000" dirty="0" smtClean="0">
                <a:solidFill>
                  <a:prstClr val="black"/>
                </a:solidFill>
                <a:latin typeface="Simplon BP Regular" pitchFamily="2" charset="0"/>
              </a:rPr>
              <a:t>Garantir envolvimento time UTC e Crédito nas especificações</a:t>
            </a:r>
          </a:p>
        </p:txBody>
      </p:sp>
      <p:sp>
        <p:nvSpPr>
          <p:cNvPr id="29" name="CaixaDeTexto 28"/>
          <p:cNvSpPr txBox="1"/>
          <p:nvPr/>
        </p:nvSpPr>
        <p:spPr>
          <a:xfrm>
            <a:off x="194314" y="2907235"/>
            <a:ext cx="10245599" cy="3691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628650" lvl="1" indent="-171450" defTabSz="457200">
              <a:lnSpc>
                <a:spcPts val="900"/>
              </a:lnSpc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1100" b="1" dirty="0">
                <a:solidFill>
                  <a:prstClr val="black"/>
                </a:solidFill>
                <a:latin typeface="Simplon BP Regular" pitchFamily="2" charset="0"/>
              </a:rPr>
              <a:t>Criação de novas interfaces para o sistema de fraude</a:t>
            </a:r>
          </a:p>
          <a:p>
            <a:pPr marL="457200" lvl="1" defTabSz="457200">
              <a:lnSpc>
                <a:spcPts val="900"/>
              </a:lnSpc>
              <a:spcBef>
                <a:spcPts val="800"/>
              </a:spcBef>
            </a:pPr>
            <a:r>
              <a:rPr lang="pt-BR" sz="1100" dirty="0">
                <a:solidFill>
                  <a:prstClr val="black"/>
                </a:solidFill>
                <a:latin typeface="Simplon BP Regular" pitchFamily="2" charset="0"/>
              </a:rPr>
              <a:t>- Necessidade de investimento para criação de interfaces do sistema de fraude com CRM, Cobrança, Faturamento e Rede</a:t>
            </a:r>
          </a:p>
          <a:p>
            <a:pPr marL="457200" lvl="1" defTabSz="457200">
              <a:lnSpc>
                <a:spcPts val="900"/>
              </a:lnSpc>
              <a:spcBef>
                <a:spcPts val="800"/>
              </a:spcBef>
            </a:pPr>
            <a:r>
              <a:rPr lang="pt-BR" sz="1100" dirty="0">
                <a:solidFill>
                  <a:prstClr val="black"/>
                </a:solidFill>
                <a:latin typeface="Simplon BP Regular" pitchFamily="2" charset="0"/>
              </a:rPr>
              <a:t>- Campos mandatórios não chegam no momento da venda on-line (</a:t>
            </a:r>
            <a:r>
              <a:rPr lang="pt-BR" sz="1100" dirty="0" err="1">
                <a:solidFill>
                  <a:prstClr val="black"/>
                </a:solidFill>
                <a:latin typeface="Simplon BP Regular" pitchFamily="2" charset="0"/>
              </a:rPr>
              <a:t>login</a:t>
            </a:r>
            <a:r>
              <a:rPr lang="pt-BR" sz="1100" dirty="0">
                <a:solidFill>
                  <a:prstClr val="black"/>
                </a:solidFill>
                <a:latin typeface="Simplon BP Regular" pitchFamily="2" charset="0"/>
              </a:rPr>
              <a:t> vendedor, produto), evoluir interface Siebel/</a:t>
            </a:r>
            <a:r>
              <a:rPr lang="pt-BR" sz="1100" dirty="0" err="1">
                <a:solidFill>
                  <a:prstClr val="black"/>
                </a:solidFill>
                <a:latin typeface="Simplon BP Regular" pitchFamily="2" charset="0"/>
              </a:rPr>
              <a:t>Transact</a:t>
            </a:r>
            <a:endParaRPr lang="pt-BR" sz="1100" dirty="0">
              <a:solidFill>
                <a:prstClr val="black"/>
              </a:solidFill>
              <a:latin typeface="Simplon BP Regular" pitchFamily="2" charset="0"/>
            </a:endParaRPr>
          </a:p>
          <a:p>
            <a:pPr marL="628650" lvl="1" indent="-171450" defTabSz="457200">
              <a:lnSpc>
                <a:spcPts val="900"/>
              </a:lnSpc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1100" b="1" dirty="0">
                <a:solidFill>
                  <a:prstClr val="black"/>
                </a:solidFill>
                <a:latin typeface="Simplon BP Regular" pitchFamily="2" charset="0"/>
              </a:rPr>
              <a:t>Controles Analíticos avançados</a:t>
            </a:r>
          </a:p>
          <a:p>
            <a:pPr marL="457200" lvl="1" defTabSz="457200">
              <a:lnSpc>
                <a:spcPts val="900"/>
              </a:lnSpc>
              <a:spcBef>
                <a:spcPts val="800"/>
              </a:spcBef>
            </a:pPr>
            <a:r>
              <a:rPr lang="pt-BR" sz="1100" dirty="0">
                <a:solidFill>
                  <a:prstClr val="black"/>
                </a:solidFill>
                <a:latin typeface="Simplon BP Regular" pitchFamily="2" charset="0"/>
              </a:rPr>
              <a:t>- Construir banco de dados do sistema sobre BIG DATA</a:t>
            </a:r>
          </a:p>
          <a:p>
            <a:pPr marL="457200" lvl="1" defTabSz="457200">
              <a:lnSpc>
                <a:spcPts val="900"/>
              </a:lnSpc>
              <a:spcBef>
                <a:spcPts val="800"/>
              </a:spcBef>
            </a:pPr>
            <a:r>
              <a:rPr lang="pt-BR" sz="1100" dirty="0">
                <a:solidFill>
                  <a:prstClr val="black"/>
                </a:solidFill>
                <a:latin typeface="Simplon BP Regular" pitchFamily="2" charset="0"/>
              </a:rPr>
              <a:t>- </a:t>
            </a:r>
            <a:r>
              <a:rPr lang="pt-BR" sz="1100" dirty="0" err="1">
                <a:solidFill>
                  <a:prstClr val="black"/>
                </a:solidFill>
                <a:latin typeface="Simplon BP Regular" pitchFamily="2" charset="0"/>
              </a:rPr>
              <a:t>Wedo</a:t>
            </a:r>
            <a:r>
              <a:rPr lang="pt-BR" sz="1100" dirty="0">
                <a:solidFill>
                  <a:prstClr val="black"/>
                </a:solidFill>
                <a:latin typeface="Simplon BP Regular" pitchFamily="2" charset="0"/>
              </a:rPr>
              <a:t> irá construir modelos estatística  através de serviço pois não possui na ferramenta</a:t>
            </a:r>
          </a:p>
          <a:p>
            <a:pPr marL="457200" lvl="1" defTabSz="457200">
              <a:lnSpc>
                <a:spcPts val="900"/>
              </a:lnSpc>
              <a:spcBef>
                <a:spcPts val="800"/>
              </a:spcBef>
            </a:pP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- Contratar </a:t>
            </a:r>
            <a:r>
              <a:rPr lang="pt-BR" sz="1100" dirty="0">
                <a:solidFill>
                  <a:prstClr val="black"/>
                </a:solidFill>
                <a:latin typeface="Simplon BP Regular" pitchFamily="2" charset="0"/>
              </a:rPr>
              <a:t>Score externo </a:t>
            </a:r>
            <a:r>
              <a:rPr lang="pt-BR" sz="1100" dirty="0" err="1">
                <a:solidFill>
                  <a:prstClr val="black"/>
                </a:solidFill>
                <a:latin typeface="Simplon BP Regular" pitchFamily="2" charset="0"/>
              </a:rPr>
              <a:t>ClearSale</a:t>
            </a:r>
            <a:r>
              <a:rPr lang="pt-BR" sz="1100" dirty="0">
                <a:solidFill>
                  <a:prstClr val="black"/>
                </a:solidFill>
                <a:latin typeface="Simplon BP Regular" pitchFamily="2" charset="0"/>
              </a:rPr>
              <a:t>/ Serasa no momento da 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venda</a:t>
            </a:r>
          </a:p>
          <a:p>
            <a:pPr marL="628650" lvl="1" indent="-171450" defTabSz="457200">
              <a:lnSpc>
                <a:spcPts val="900"/>
              </a:lnSpc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1100" b="1" dirty="0" smtClean="0">
                <a:solidFill>
                  <a:prstClr val="black"/>
                </a:solidFill>
                <a:latin typeface="Simplon BP Regular" pitchFamily="2" charset="0"/>
              </a:rPr>
              <a:t>Histórico de atraso nas implementações RAID</a:t>
            </a:r>
            <a:endParaRPr lang="pt-BR" sz="1100" b="1" dirty="0">
              <a:solidFill>
                <a:prstClr val="black"/>
              </a:solidFill>
              <a:latin typeface="Simplon BP Regular" pitchFamily="2" charset="0"/>
            </a:endParaRPr>
          </a:p>
          <a:p>
            <a:pPr marL="457200" lvl="1" defTabSz="457200">
              <a:lnSpc>
                <a:spcPts val="900"/>
              </a:lnSpc>
              <a:spcBef>
                <a:spcPts val="800"/>
              </a:spcBef>
            </a:pP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- Buscar com TI implantação metodologia AGIL, ou maior </a:t>
            </a:r>
            <a:r>
              <a:rPr lang="pt-BR" sz="1100" dirty="0" err="1" smtClean="0">
                <a:solidFill>
                  <a:prstClr val="black"/>
                </a:solidFill>
                <a:latin typeface="Simplon BP Regular" pitchFamily="2" charset="0"/>
              </a:rPr>
              <a:t>faseamento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 das entregas</a:t>
            </a:r>
            <a:endParaRPr lang="pt-BR" sz="1100" dirty="0">
              <a:solidFill>
                <a:prstClr val="black"/>
              </a:solidFill>
              <a:latin typeface="Simplon BP Regular" pitchFamily="2" charset="0"/>
            </a:endParaRPr>
          </a:p>
          <a:p>
            <a:pPr marL="457200" lvl="1" defTabSz="457200">
              <a:lnSpc>
                <a:spcPts val="900"/>
              </a:lnSpc>
              <a:spcBef>
                <a:spcPts val="800"/>
              </a:spcBef>
            </a:pP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-  Criar sala permanente do projeto com </a:t>
            </a:r>
            <a:r>
              <a:rPr lang="pt-BR" sz="1100" dirty="0" err="1" smtClean="0">
                <a:solidFill>
                  <a:prstClr val="black"/>
                </a:solidFill>
                <a:latin typeface="Simplon BP Regular" pitchFamily="2" charset="0"/>
              </a:rPr>
              <a:t>Wedo</a:t>
            </a:r>
            <a:r>
              <a:rPr lang="pt-BR" sz="1100" dirty="0" smtClean="0">
                <a:solidFill>
                  <a:prstClr val="black"/>
                </a:solidFill>
                <a:latin typeface="Simplon BP Regular" pitchFamily="2" charset="0"/>
              </a:rPr>
              <a:t> e time de TI em BH</a:t>
            </a:r>
          </a:p>
          <a:p>
            <a:pPr marL="628650" lvl="1" indent="-171450" defTabSz="457200">
              <a:lnSpc>
                <a:spcPts val="900"/>
              </a:lnSpc>
              <a:spcBef>
                <a:spcPts val="800"/>
              </a:spcBef>
              <a:buFont typeface="Wingdings" panose="05000000000000000000" pitchFamily="2" charset="2"/>
              <a:buChar char="§"/>
            </a:pPr>
            <a:endParaRPr lang="pt-BR" sz="1050" dirty="0" smtClean="0">
              <a:solidFill>
                <a:prstClr val="black"/>
              </a:solidFill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07554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xsRu5GKECuCd9yv8PJ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F9uIHM0.ol9zHg9y.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uYyfY570WNW5run7.P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iu3rFZ1U69hXV86s1w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6NO0KPNU6afYsxwsJB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0QPxXovUqGYRPKNnfe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sIDoFx9EGRIMsUeStz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Rh_gahuE6kAsxk1JDr0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9M9LoOgUyGjUJ7sjbk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qh5Q.dWES34lfkC1U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jyeXvPXEC97KU6twvfs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Br2iYyuEWVpmpBYKHW6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uYbVric0KDlnSEZh7N5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dhjiGrVEGahJkFtsezZ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NFiS4c_0euMJ2a7n27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eUnK8CEEesh7q8To_H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b2zySmTkmn3252DjYz_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9ayKfYDEmWNANwTGwlJ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xVGbflkiolOnscdDD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3ANkoDkOVYEywyf38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xVGbflkiolOnscdDD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Xmqj6MV0SoKlDKvHN6r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puWCz9kkm6pUAaNkzl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flq77otUO9OLi3TYz9q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5oMqBXsUKNQXJKsY1r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n0hYaa7Uuh0LcLXMb00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flq77otUO9OLi3TYz9q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5oMqBXsUKNQXJKsY1rZ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flq77otUO9OLi3TYz9q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5oMqBXsUKNQXJKsY1rZ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jyeXvPXEC97KU6twvfs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Xmqj6MV0SoKlDKvHN6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XErzcMjUOflE_VzCWiF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n0hYaa7Uuh0LcLXMb00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XErzcMjUOflE_VzCWiF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tbjUhCz0i1pVX7c5JOA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vv5OS.XE2xrd_ehn.jq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8DfbfBz0KLa.goBvhW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EHwCdZlUmQhH3iD1ciP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xsRu5GKECuCd9yv8PJ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F9uIHM0.ol9zHg9y.W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uYyfY570WNW5run7.Pl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iu3rFZ1U69hXV86s1w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tbjUhCz0i1pVX7c5JO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6NO0KPNU6afYsxwsJBs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0QPxXovUqGYRPKNnfeq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sIDoFx9EGRIMsUeStzN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Rh_gahuE6kAsxk1JDr0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9M9LoOgUyGjUJ7sjbkb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qh5Q.dWES34lfkC1UsD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Br2iYyuEWVpmpBYKHW6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uYbVric0KDlnSEZh7N5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dhjiGrVEGahJkFtsezZ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NFiS4c_0euMJ2a7n27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vv5OS.XE2xrd_ehn.jq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eUnK8CEEesh7q8To_HN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b2zySmTkmn3252DjYz_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9ayKfYDEmWNANwTGwlJ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xVGbflkiolOnscdDDp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puWCz9kkm6pUAaNkzlU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8DfbfBz0KLa.goBvhW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EHwCdZlUmQhH3iD1ciPw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8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9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10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4.xml><?xml version="1.0" encoding="utf-8"?>
<a:theme xmlns:a="http://schemas.openxmlformats.org/drawingml/2006/main" name="1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1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6.xml><?xml version="1.0" encoding="utf-8"?>
<a:theme xmlns:a="http://schemas.openxmlformats.org/drawingml/2006/main" name="1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1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1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9.xml><?xml version="1.0" encoding="utf-8"?>
<a:theme xmlns:a="http://schemas.openxmlformats.org/drawingml/2006/main" name="5_Custom Design">
  <a:themeElements>
    <a:clrScheme name="Oi">
      <a:dk1>
        <a:sysClr val="windowText" lastClr="000000"/>
      </a:dk1>
      <a:lt1>
        <a:sysClr val="window" lastClr="FFFFFF"/>
      </a:lt1>
      <a:dk2>
        <a:srgbClr val="004A4C"/>
      </a:dk2>
      <a:lt2>
        <a:srgbClr val="92D050"/>
      </a:lt2>
      <a:accent1>
        <a:srgbClr val="00AAAD"/>
      </a:accent1>
      <a:accent2>
        <a:srgbClr val="4D4D4D"/>
      </a:accent2>
      <a:accent3>
        <a:srgbClr val="C03E96"/>
      </a:accent3>
      <a:accent4>
        <a:srgbClr val="F99D1C"/>
      </a:accent4>
      <a:accent5>
        <a:srgbClr val="E05206"/>
      </a:accent5>
      <a:accent6>
        <a:srgbClr val="FF3399"/>
      </a:accent6>
      <a:hlink>
        <a:srgbClr val="0000FF"/>
      </a:hlink>
      <a:folHlink>
        <a:srgbClr val="800080"/>
      </a:folHlink>
    </a:clrScheme>
    <a:fontScheme name="Oi">
      <a:majorFont>
        <a:latin typeface="Simplon Oi Headline"/>
        <a:ea typeface=""/>
        <a:cs typeface=""/>
      </a:majorFont>
      <a:minorFont>
        <a:latin typeface="Simplon BP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accent1"/>
          </a:solidFill>
        </a:ln>
      </a:spPr>
      <a:bodyPr wrap="square" lIns="0" tIns="0" rIns="0" bIns="0" rtlCol="0" anchor="ctr">
        <a:noAutofit/>
      </a:bodyPr>
      <a:lstStyle>
        <a:defPPr algn="ctr">
          <a:defRPr sz="1200" dirty="0">
            <a:solidFill>
              <a:schemeClr val="bg1"/>
            </a:solidFill>
            <a:latin typeface="Simplon BP Light" pitchFamily="2" charset="0"/>
          </a:defRPr>
        </a:defPPr>
      </a:lstStyle>
    </a:spDef>
    <a:lnDef>
      <a:spPr>
        <a:ln w="12700"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noAutofit/>
      </a:bodyPr>
      <a:lstStyle>
        <a:defPPr>
          <a:defRPr sz="1200" dirty="0">
            <a:latin typeface="Simplon BP Regular" pitchFamily="2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0.xml><?xml version="1.0" encoding="utf-8"?>
<a:theme xmlns:a="http://schemas.openxmlformats.org/drawingml/2006/main" name="6_Custom Design">
  <a:themeElements>
    <a:clrScheme name="Oi">
      <a:dk1>
        <a:sysClr val="windowText" lastClr="000000"/>
      </a:dk1>
      <a:lt1>
        <a:sysClr val="window" lastClr="FFFFFF"/>
      </a:lt1>
      <a:dk2>
        <a:srgbClr val="004A4C"/>
      </a:dk2>
      <a:lt2>
        <a:srgbClr val="92D050"/>
      </a:lt2>
      <a:accent1>
        <a:srgbClr val="00AAAD"/>
      </a:accent1>
      <a:accent2>
        <a:srgbClr val="4D4D4D"/>
      </a:accent2>
      <a:accent3>
        <a:srgbClr val="C03E96"/>
      </a:accent3>
      <a:accent4>
        <a:srgbClr val="F99D1C"/>
      </a:accent4>
      <a:accent5>
        <a:srgbClr val="E05206"/>
      </a:accent5>
      <a:accent6>
        <a:srgbClr val="FF3399"/>
      </a:accent6>
      <a:hlink>
        <a:srgbClr val="0000FF"/>
      </a:hlink>
      <a:folHlink>
        <a:srgbClr val="800080"/>
      </a:folHlink>
    </a:clrScheme>
    <a:fontScheme name="Oi">
      <a:majorFont>
        <a:latin typeface="Simplon Oi Headline"/>
        <a:ea typeface=""/>
        <a:cs typeface=""/>
      </a:majorFont>
      <a:minorFont>
        <a:latin typeface="Simplon BP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accent1"/>
          </a:solidFill>
        </a:ln>
      </a:spPr>
      <a:bodyPr wrap="square" lIns="0" tIns="0" rIns="0" bIns="0" rtlCol="0" anchor="ctr">
        <a:noAutofit/>
      </a:bodyPr>
      <a:lstStyle>
        <a:defPPr algn="ctr">
          <a:defRPr sz="1200" dirty="0">
            <a:solidFill>
              <a:schemeClr val="bg1"/>
            </a:solidFill>
            <a:latin typeface="Simplon BP Light" pitchFamily="2" charset="0"/>
          </a:defRPr>
        </a:defPPr>
      </a:lstStyle>
    </a:spDef>
    <a:lnDef>
      <a:spPr>
        <a:ln w="12700"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noAutofit/>
      </a:bodyPr>
      <a:lstStyle>
        <a:defPPr>
          <a:defRPr sz="1200" dirty="0">
            <a:latin typeface="Simplon BP Regular" pitchFamily="2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1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2.xml><?xml version="1.0" encoding="utf-8"?>
<a:theme xmlns:a="http://schemas.openxmlformats.org/drawingml/2006/main" name="2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3.xml><?xml version="1.0" encoding="utf-8"?>
<a:theme xmlns:a="http://schemas.openxmlformats.org/drawingml/2006/main" name="2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4.xml><?xml version="1.0" encoding="utf-8"?>
<a:theme xmlns:a="http://schemas.openxmlformats.org/drawingml/2006/main" name="1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5.xml><?xml version="1.0" encoding="utf-8"?>
<a:theme xmlns:a="http://schemas.openxmlformats.org/drawingml/2006/main" name="2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6.xml><?xml version="1.0" encoding="utf-8"?>
<a:theme xmlns:a="http://schemas.openxmlformats.org/drawingml/2006/main" name="18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7.xml><?xml version="1.0" encoding="utf-8"?>
<a:theme xmlns:a="http://schemas.openxmlformats.org/drawingml/2006/main" name="20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8.xml><?xml version="1.0" encoding="utf-8"?>
<a:theme xmlns:a="http://schemas.openxmlformats.org/drawingml/2006/main" name="19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9.xml><?xml version="1.0" encoding="utf-8"?>
<a:theme xmlns:a="http://schemas.openxmlformats.org/drawingml/2006/main" name="2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30.xml><?xml version="1.0" encoding="utf-8"?>
<a:theme xmlns:a="http://schemas.openxmlformats.org/drawingml/2006/main" name="7_Custom Design">
  <a:themeElements>
    <a:clrScheme name="Oi">
      <a:dk1>
        <a:sysClr val="windowText" lastClr="000000"/>
      </a:dk1>
      <a:lt1>
        <a:sysClr val="window" lastClr="FFFFFF"/>
      </a:lt1>
      <a:dk2>
        <a:srgbClr val="004A4C"/>
      </a:dk2>
      <a:lt2>
        <a:srgbClr val="92D050"/>
      </a:lt2>
      <a:accent1>
        <a:srgbClr val="00AAAD"/>
      </a:accent1>
      <a:accent2>
        <a:srgbClr val="4D4D4D"/>
      </a:accent2>
      <a:accent3>
        <a:srgbClr val="C03E96"/>
      </a:accent3>
      <a:accent4>
        <a:srgbClr val="F99D1C"/>
      </a:accent4>
      <a:accent5>
        <a:srgbClr val="E05206"/>
      </a:accent5>
      <a:accent6>
        <a:srgbClr val="FF3399"/>
      </a:accent6>
      <a:hlink>
        <a:srgbClr val="0000FF"/>
      </a:hlink>
      <a:folHlink>
        <a:srgbClr val="800080"/>
      </a:folHlink>
    </a:clrScheme>
    <a:fontScheme name="Oi">
      <a:majorFont>
        <a:latin typeface="Simplon Oi Headline"/>
        <a:ea typeface=""/>
        <a:cs typeface=""/>
      </a:majorFont>
      <a:minorFont>
        <a:latin typeface="Simplon BP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accent1"/>
          </a:solidFill>
        </a:ln>
      </a:spPr>
      <a:bodyPr wrap="square" lIns="0" tIns="0" rIns="0" bIns="0" rtlCol="0" anchor="ctr">
        <a:noAutofit/>
      </a:bodyPr>
      <a:lstStyle>
        <a:defPPr algn="ctr">
          <a:defRPr sz="1200" dirty="0">
            <a:solidFill>
              <a:schemeClr val="bg1"/>
            </a:solidFill>
            <a:latin typeface="Simplon BP Light" pitchFamily="2" charset="0"/>
          </a:defRPr>
        </a:defPPr>
      </a:lstStyle>
    </a:spDef>
    <a:lnDef>
      <a:spPr>
        <a:ln w="12700"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noAutofit/>
      </a:bodyPr>
      <a:lstStyle>
        <a:defPPr>
          <a:defRPr sz="1200" dirty="0">
            <a:latin typeface="Simplon BP Regular" pitchFamily="2" charset="0"/>
          </a:defRPr>
        </a:defPPr>
      </a:lstStyle>
    </a:txDef>
  </a:objectDefaults>
  <a:extraClrSchemeLst/>
</a:theme>
</file>

<file path=ppt/theme/theme31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2.xml><?xml version="1.0" encoding="utf-8"?>
<a:theme xmlns:a="http://schemas.openxmlformats.org/drawingml/2006/main" name="2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33.xml><?xml version="1.0" encoding="utf-8"?>
<a:theme xmlns:a="http://schemas.openxmlformats.org/drawingml/2006/main" name="2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34.xml><?xml version="1.0" encoding="utf-8"?>
<a:theme xmlns:a="http://schemas.openxmlformats.org/drawingml/2006/main" name="29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3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6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37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38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39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4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40.xml><?xml version="1.0" encoding="utf-8"?>
<a:theme xmlns:a="http://schemas.openxmlformats.org/drawingml/2006/main" name="2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41.xml><?xml version="1.0" encoding="utf-8"?>
<a:theme xmlns:a="http://schemas.openxmlformats.org/drawingml/2006/main" name="6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4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15711</TotalTime>
  <Words>1605</Words>
  <Application>Microsoft Office PowerPoint</Application>
  <PresentationFormat>Apresentação na tela (16:9)</PresentationFormat>
  <Paragraphs>560</Paragraphs>
  <Slides>14</Slides>
  <Notes>8</Notes>
  <HiddenSlides>5</HiddenSlides>
  <MMClips>0</MMClips>
  <ScaleCrop>false</ScaleCrop>
  <HeadingPairs>
    <vt:vector size="8" baseType="variant">
      <vt:variant>
        <vt:lpstr>Fontes usadas</vt:lpstr>
      </vt:variant>
      <vt:variant>
        <vt:i4>16</vt:i4>
      </vt:variant>
      <vt:variant>
        <vt:lpstr>Tema</vt:lpstr>
      </vt:variant>
      <vt:variant>
        <vt:i4>41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14</vt:i4>
      </vt:variant>
    </vt:vector>
  </HeadingPairs>
  <TitlesOfParts>
    <vt:vector size="73" baseType="lpstr">
      <vt:lpstr>MS PGothic</vt:lpstr>
      <vt:lpstr>Arial</vt:lpstr>
      <vt:lpstr>Calibri</vt:lpstr>
      <vt:lpstr>Calibri Light</vt:lpstr>
      <vt:lpstr>Georgia</vt:lpstr>
      <vt:lpstr>Museo Sans 300</vt:lpstr>
      <vt:lpstr>Myriad Pro</vt:lpstr>
      <vt:lpstr>Myriad Pro Light</vt:lpstr>
      <vt:lpstr>Neo Tech Pro</vt:lpstr>
      <vt:lpstr>Simplon BP</vt:lpstr>
      <vt:lpstr>Simplon BP Bold</vt:lpstr>
      <vt:lpstr>Simplon BP Light</vt:lpstr>
      <vt:lpstr>Simplon BP Regular</vt:lpstr>
      <vt:lpstr>Simplon Oi Headline</vt:lpstr>
      <vt:lpstr>Verdana</vt:lpstr>
      <vt:lpstr>Wingdings</vt:lpstr>
      <vt:lpstr>FBBR0598.TP.130513.PPT</vt:lpstr>
      <vt:lpstr>1_FBBR0598.TP.130513</vt:lpstr>
      <vt:lpstr>2_FBBR0598.TP.130513</vt:lpstr>
      <vt:lpstr>3_FBBR0598.TP.130513</vt:lpstr>
      <vt:lpstr>4_FBBR0598.TP.130513</vt:lpstr>
      <vt:lpstr>FBBR0598.TP.130513</vt:lpstr>
      <vt:lpstr>5_FBBR0598.TP.130513</vt:lpstr>
      <vt:lpstr>6_FBBR0598.TP.130513</vt:lpstr>
      <vt:lpstr>4_Custom Design</vt:lpstr>
      <vt:lpstr>7_FBBR0598.TP.130513</vt:lpstr>
      <vt:lpstr>8_FBBR0598.TP.130513</vt:lpstr>
      <vt:lpstr>9_FBBR0598.TP.130513</vt:lpstr>
      <vt:lpstr>10_FBBR0598.TP.130513</vt:lpstr>
      <vt:lpstr>11_FBBR0598.TP.130513</vt:lpstr>
      <vt:lpstr>12_FBBR0598.TP.130513</vt:lpstr>
      <vt:lpstr>13_FBBR0598.TP.130513</vt:lpstr>
      <vt:lpstr>14_FBBR0598.TP.130513</vt:lpstr>
      <vt:lpstr>15_FBBR0598.TP.130513</vt:lpstr>
      <vt:lpstr>5_Custom Design</vt:lpstr>
      <vt:lpstr>6_Custom Design</vt:lpstr>
      <vt:lpstr>16_FBBR0598.TP.130513</vt:lpstr>
      <vt:lpstr>24_FBBR0598.TP.130513</vt:lpstr>
      <vt:lpstr>26_FBBR0598.TP.130513</vt:lpstr>
      <vt:lpstr>17_FBBR0598.TP.130513</vt:lpstr>
      <vt:lpstr>22_FBBR0598.TP.130513</vt:lpstr>
      <vt:lpstr>18_FBBR0598.TP.130513</vt:lpstr>
      <vt:lpstr>20_FBBR0598.TP.130513</vt:lpstr>
      <vt:lpstr>19_FBBR0598.TP.130513</vt:lpstr>
      <vt:lpstr>23_FBBR0598.TP.130513</vt:lpstr>
      <vt:lpstr>7_Custom Design</vt:lpstr>
      <vt:lpstr>8_Custom Design</vt:lpstr>
      <vt:lpstr>25_FBBR0598.TP.130513</vt:lpstr>
      <vt:lpstr>21_FBBR0598.TP.130513</vt:lpstr>
      <vt:lpstr>29_FBBR0598.TP.130513</vt:lpstr>
      <vt:lpstr>Tema do Office</vt:lpstr>
      <vt:lpstr>Base_Azul</vt:lpstr>
      <vt:lpstr>1_Base_Azul</vt:lpstr>
      <vt:lpstr>2_Base_Azul</vt:lpstr>
      <vt:lpstr>3_Base_Azul</vt:lpstr>
      <vt:lpstr>27_FBBR0598.TP.130513</vt:lpstr>
      <vt:lpstr>62_FBBR0598.TP.130513</vt:lpstr>
      <vt:lpstr>think-cell Slide</vt:lpstr>
      <vt:lpstr>Slide do think-cell</vt:lpstr>
      <vt:lpstr>Apresentação do PowerPoint</vt:lpstr>
      <vt:lpstr>Apresentação do PowerPoint</vt:lpstr>
      <vt:lpstr>PAUTA – NOVO SISTEMA DE PREVENÇÃO A FRAU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lanejamos um roadmap  priorizando os principais problemas e benefícios mapeados até o momento.</vt:lpstr>
      <vt:lpstr>MACROCRONOGRAMA inicial </vt:lpstr>
      <vt:lpstr>PESO DOS PRINCIPAIS DIRECIONADORES QUE IRÃO BALIZAR AS FUTURAS DECISÕE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Hugo Martins</cp:lastModifiedBy>
  <cp:revision>543</cp:revision>
  <dcterms:created xsi:type="dcterms:W3CDTF">2013-05-14T05:19:21Z</dcterms:created>
  <dcterms:modified xsi:type="dcterms:W3CDTF">2017-08-07T17:27:11Z</dcterms:modified>
</cp:coreProperties>
</file>